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27"/>
  </p:notesMasterIdLst>
  <p:sldIdLst>
    <p:sldId id="342" r:id="rId2"/>
    <p:sldId id="351" r:id="rId3"/>
    <p:sldId id="352" r:id="rId4"/>
    <p:sldId id="353" r:id="rId5"/>
    <p:sldId id="345" r:id="rId6"/>
    <p:sldId id="347" r:id="rId7"/>
    <p:sldId id="354" r:id="rId8"/>
    <p:sldId id="357" r:id="rId9"/>
    <p:sldId id="358" r:id="rId10"/>
    <p:sldId id="359" r:id="rId11"/>
    <p:sldId id="360" r:id="rId12"/>
    <p:sldId id="356" r:id="rId13"/>
    <p:sldId id="355" r:id="rId14"/>
    <p:sldId id="364" r:id="rId15"/>
    <p:sldId id="365" r:id="rId16"/>
    <p:sldId id="323" r:id="rId17"/>
    <p:sldId id="326" r:id="rId18"/>
    <p:sldId id="325" r:id="rId19"/>
    <p:sldId id="267" r:id="rId20"/>
    <p:sldId id="265" r:id="rId21"/>
    <p:sldId id="322" r:id="rId22"/>
    <p:sldId id="258" r:id="rId23"/>
    <p:sldId id="318" r:id="rId24"/>
    <p:sldId id="320" r:id="rId25"/>
    <p:sldId id="269" r:id="rId2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CC9900"/>
    <a:srgbClr val="FF9966"/>
    <a:srgbClr val="FFCC66"/>
    <a:srgbClr val="00FFFF"/>
    <a:srgbClr val="66FF33"/>
    <a:srgbClr val="0099FF"/>
    <a:srgbClr val="4DE1EA"/>
    <a:srgbClr val="FFFF99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144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26201E-BC6E-4F1D-A456-321F939407A2}" type="datetimeFigureOut">
              <a:rPr lang="fr-FR" smtClean="0"/>
              <a:t>11/0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22B8D-A36C-43ED-9B3E-9795A864CC6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6976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4334933" y="1169931"/>
            <a:ext cx="4814835" cy="4993802"/>
            <a:chOff x="4334933" y="1169931"/>
            <a:chExt cx="4814835" cy="4993802"/>
          </a:xfrm>
        </p:grpSpPr>
        <p:cxnSp>
          <p:nvCxnSpPr>
            <p:cNvPr id="17" name="Straight Connector 16"/>
            <p:cNvCxnSpPr/>
            <p:nvPr/>
          </p:nvCxnSpPr>
          <p:spPr>
            <a:xfrm flipH="1">
              <a:off x="6009259" y="1169931"/>
              <a:ext cx="3134741" cy="31347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4334933" y="1348898"/>
              <a:ext cx="4814835" cy="48148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5225595" y="1469269"/>
              <a:ext cx="3912054" cy="391205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5304588" y="1307856"/>
              <a:ext cx="3839412" cy="3839412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5707078" y="1770196"/>
              <a:ext cx="3430571" cy="343057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533400"/>
            <a:ext cx="6154713" cy="3124201"/>
          </a:xfrm>
        </p:spPr>
        <p:txBody>
          <a:bodyPr anchor="b">
            <a:normAutofit/>
          </a:bodyPr>
          <a:lstStyle>
            <a:lvl1pPr algn="l">
              <a:defRPr sz="4400">
                <a:effectLst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400" y="3843868"/>
            <a:ext cx="4954250" cy="191346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D2852B-7524-45AF-8434-82D0CABD518A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1ADFB5-4EF6-402B-AC13-C4EF1CCC31DB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133767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noramiqu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533400" y="533400"/>
            <a:ext cx="8077200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62002" y="3843867"/>
            <a:ext cx="7281332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1BDFAB-5FA7-4331-ABC7-4DEAC5217B72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C401-5CC5-452C-A170-35942A09F0DA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12675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33400"/>
            <a:ext cx="8077200" cy="2895600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114800"/>
            <a:ext cx="6383552" cy="1905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1BDFAB-5FA7-4331-ABC7-4DEAC5217B72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C401-5CC5-452C-A170-35942A09F0DA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87393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ion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283" y="533400"/>
            <a:ext cx="6859787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66800" y="3429000"/>
            <a:ext cx="6402467" cy="4826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301070"/>
            <a:ext cx="6382361" cy="171873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1BDFAB-5FA7-4331-ABC7-4DEAC5217B72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C401-5CC5-452C-A170-35942A09F0DA}" type="slidenum">
              <a:rPr lang="fr-FR" altLang="fr-FR" smtClean="0"/>
              <a:pPr/>
              <a:t>‹N°›</a:t>
            </a:fld>
            <a:endParaRPr lang="fr-FR" altLang="fr-FR"/>
          </a:p>
        </p:txBody>
      </p:sp>
      <p:sp>
        <p:nvSpPr>
          <p:cNvPr id="14" name="TextBox 13"/>
          <p:cNvSpPr txBox="1"/>
          <p:nvPr/>
        </p:nvSpPr>
        <p:spPr>
          <a:xfrm>
            <a:off x="228600" y="710624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96200" y="2768601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4101790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429000"/>
            <a:ext cx="6382361" cy="16974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5132980"/>
            <a:ext cx="6383552" cy="886819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1BDFAB-5FA7-4331-ABC7-4DEAC5217B72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C401-5CC5-452C-A170-35942A09F0DA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463889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284" y="533400"/>
            <a:ext cx="6859786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3400" y="3886200"/>
            <a:ext cx="638236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953000"/>
            <a:ext cx="638236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1BDFAB-5FA7-4331-ABC7-4DEAC5217B72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C401-5CC5-452C-A170-35942A09F0DA}" type="slidenum">
              <a:rPr lang="fr-FR" altLang="fr-FR" smtClean="0"/>
              <a:pPr/>
              <a:t>‹N°›</a:t>
            </a:fld>
            <a:endParaRPr lang="fr-FR" altLang="fr-FR"/>
          </a:p>
        </p:txBody>
      </p:sp>
      <p:sp>
        <p:nvSpPr>
          <p:cNvPr id="14" name="TextBox 13"/>
          <p:cNvSpPr txBox="1"/>
          <p:nvPr/>
        </p:nvSpPr>
        <p:spPr>
          <a:xfrm>
            <a:off x="228600" y="710624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96200" y="2768601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57563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rai ou f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33400"/>
            <a:ext cx="7525658" cy="28956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3400" y="3928534"/>
            <a:ext cx="6382361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766735"/>
            <a:ext cx="6382360" cy="1253065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1BDFAB-5FA7-4331-ABC7-4DEAC5217B72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0C401-5CC5-452C-A170-35942A09F0DA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515184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533401"/>
            <a:ext cx="6554867" cy="3767670"/>
          </a:xfrm>
        </p:spPr>
        <p:txBody>
          <a:bodyPr vert="eaVert" anchor="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E56B710-184F-4E70-A5F4-74E8556C1687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8F245-79AD-4A17-8E8D-56E300E94B0B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9583581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66406" y="533400"/>
            <a:ext cx="2044194" cy="4419600"/>
          </a:xfrm>
        </p:spPr>
        <p:txBody>
          <a:bodyPr vert="eaVert">
            <a:normAutofit/>
          </a:bodyPr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533400"/>
            <a:ext cx="5850012" cy="5486400"/>
          </a:xfrm>
        </p:spPr>
        <p:txBody>
          <a:bodyPr vert="eaVert" anchor="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6ABB05-06B8-4B85-84BE-CCEAEBC614B6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1BA14-6AD0-4EC5-9413-854B62D11A4B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731498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533400"/>
            <a:ext cx="6554867" cy="3767670"/>
          </a:xfrm>
        </p:spPr>
        <p:txBody>
          <a:bodyPr anchor="ctr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18691AE-DFB6-4414-9C4E-AB0FC815F79A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8E700F-CC73-456C-98B7-572D948DA7CD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74007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981199"/>
            <a:ext cx="6402468" cy="2319867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487333"/>
            <a:ext cx="6402467" cy="1532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05278C-80AA-476E-8825-BC8FCD94EE40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EA5B1-D6DA-4118-AFD3-6A63CBF95D0F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12539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533400" y="533400"/>
            <a:ext cx="3949967" cy="3767667"/>
          </a:xfrm>
        </p:spPr>
        <p:txBody>
          <a:bodyPr anchor="ctr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62362" y="533400"/>
            <a:ext cx="3948238" cy="3759200"/>
          </a:xfrm>
        </p:spPr>
        <p:txBody>
          <a:bodyPr anchor="ctr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39F44D-77FB-4190-BC2E-F78DAC4F8874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5ABBF-8BC7-44B4-8636-4D402B9B5813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922407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1" y="533400"/>
            <a:ext cx="3716866" cy="609600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399" y="1143000"/>
            <a:ext cx="3945467" cy="3158067"/>
          </a:xfrm>
        </p:spPr>
        <p:txBody>
          <a:bodyPr anchor="t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55016" y="566738"/>
            <a:ext cx="376405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2362" y="1143000"/>
            <a:ext cx="3956705" cy="3149600"/>
          </a:xfrm>
        </p:spPr>
        <p:txBody>
          <a:bodyPr anchor="t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1C6B3E-47F6-4F90-87A8-A8640A646959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621FA-EEB8-4210-9116-A4D04CA5AFBE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60870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A6CDA4-8F08-4183-B069-BA4145177169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4D2987-4F39-44FE-B7A1-7330BA877712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6723915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DEBFB2-CC10-49FA-A837-BFE72796F405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01E32-D34F-46C9-AD3E-D15DCF059954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606756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8667" y="533400"/>
            <a:ext cx="3200400" cy="1524000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399" y="533400"/>
            <a:ext cx="4438755" cy="5486400"/>
          </a:xfrm>
        </p:spPr>
        <p:txBody>
          <a:bodyPr anchor="ctr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418667" y="2209802"/>
            <a:ext cx="32004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505636B-9DE8-4DA0-B5F9-A644BF6FC5E1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F896E-1DCD-4180-BFC1-CDB32F2843E2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736087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5800" y="1447800"/>
            <a:ext cx="3563258" cy="11430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762000" y="914400"/>
            <a:ext cx="3280974" cy="48006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96027" y="2743200"/>
            <a:ext cx="3564223" cy="2082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60FA40D-9DA4-467C-837D-627881415D2A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33400" y="6172200"/>
            <a:ext cx="5811724" cy="365125"/>
          </a:xfr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D97C2-AD67-498B-99C9-F813EBA1EF49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00985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670675" y="3894667"/>
            <a:ext cx="2470456" cy="2658533"/>
            <a:chOff x="6687077" y="3259666"/>
            <a:chExt cx="2981857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8756120" y="3259666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6687077" y="3486677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7772400" y="3581400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7923214" y="3433394"/>
              <a:ext cx="1739738" cy="173974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8398935" y="3985317"/>
              <a:ext cx="1264017" cy="126401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533401"/>
            <a:ext cx="6554867" cy="3767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30245" y="6172203"/>
            <a:ext cx="1200463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>
              <a:defRPr/>
            </a:pPr>
            <a:fld id="{A21BDFAB-5FA7-4331-ABC7-4DEAC5217B72}" type="datetimeFigureOut">
              <a:rPr lang="fr-FR" smtClean="0"/>
              <a:pPr>
                <a:defRPr/>
              </a:pPr>
              <a:t>11/01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172200"/>
            <a:ext cx="581172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74426" y="5578478"/>
            <a:ext cx="856907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8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D10C401-5CC5-452C-A170-35942A09F0DA}" type="slidenum">
              <a:rPr lang="fr-FR" altLang="fr-FR" smtClean="0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0622526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33400" y="533400"/>
            <a:ext cx="6342856" cy="3124201"/>
          </a:xfrm>
        </p:spPr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agine ….</a:t>
            </a:r>
            <a:b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d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ay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ways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ding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 effective solution to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blems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/or help the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nes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ose to </a:t>
            </a:r>
            <a:r>
              <a:rPr lang="fr-FR" sz="28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8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?</a:t>
            </a:r>
            <a:endParaRPr lang="fr-FR" sz="4000" cap="non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403920"/>
            <a:ext cx="1100873" cy="52139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ime ….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5004048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www.quantum-healthcare.com</a:t>
            </a:r>
          </a:p>
        </p:txBody>
      </p:sp>
      <p:pic>
        <p:nvPicPr>
          <p:cNvPr id="2050" name="Picture 2" descr="Images intégrées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4272" y="241998"/>
            <a:ext cx="621857" cy="582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25956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hat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ference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system do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e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use ?</a:t>
            </a: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QH frame – an on-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going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user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ference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system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547" y="5005164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ZoneTexte 14"/>
          <p:cNvSpPr txBox="1"/>
          <p:nvPr/>
        </p:nvSpPr>
        <p:spPr>
          <a:xfrm>
            <a:off x="123334" y="1356040"/>
            <a:ext cx="8607259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ientific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s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global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ferenc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ystem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ll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H (Quantum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fram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This new system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k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tes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tio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GV (french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pi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rain)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k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un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enc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ut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ll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s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n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ing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eld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physic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ac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ac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mentar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api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ll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ncipl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ura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non-intrusiv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llow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graph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lin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structure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w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ferenc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ram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pose to use best practices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riet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industries in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m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kill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ferenc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ystem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uousl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ir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mmunity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riche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ap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ferenc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ram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k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r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rehensiv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nd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ward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« perfection » but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v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tall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t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way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w </a:t>
            </a:r>
          </a:p>
          <a:p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overi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/or use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quir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stant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apatio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« living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a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».</a:t>
            </a:r>
          </a:p>
        </p:txBody>
      </p:sp>
    </p:spTree>
    <p:extLst>
      <p:ext uri="{BB962C8B-B14F-4D97-AF65-F5344CB8AC3E}">
        <p14:creationId xmlns:p14="http://schemas.microsoft.com/office/powerpoint/2010/main" val="8229947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QH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ference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system</a:t>
            </a: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ransversal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nformational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Health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– the TIZ basis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2416" y="133955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261" y="1221234"/>
            <a:ext cx="8589564" cy="5592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0035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How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oes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t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ork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?</a:t>
            </a: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Global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izer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Community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547" y="5005164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79512" y="1772816"/>
            <a:ext cx="2664296" cy="312512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/>
          <p:cNvSpPr txBox="1"/>
          <p:nvPr/>
        </p:nvSpPr>
        <p:spPr>
          <a:xfrm>
            <a:off x="251520" y="1862822"/>
            <a:ext cx="252028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solidFill>
                  <a:schemeClr val="bg1"/>
                </a:solidFill>
              </a:rPr>
              <a:t>Describe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b="1" dirty="0">
                <a:solidFill>
                  <a:schemeClr val="bg1"/>
                </a:solidFill>
              </a:rPr>
              <a:t>the </a:t>
            </a:r>
            <a:r>
              <a:rPr lang="fr-FR" b="1" dirty="0" err="1">
                <a:solidFill>
                  <a:schemeClr val="bg1"/>
                </a:solidFill>
              </a:rPr>
              <a:t>health</a:t>
            </a:r>
            <a:r>
              <a:rPr lang="fr-FR" b="1" dirty="0">
                <a:solidFill>
                  <a:schemeClr val="bg1"/>
                </a:solidFill>
              </a:rPr>
              <a:t> issue or </a:t>
            </a:r>
            <a:r>
              <a:rPr lang="fr-FR" b="1" dirty="0" err="1">
                <a:solidFill>
                  <a:schemeClr val="bg1"/>
                </a:solidFill>
              </a:rPr>
              <a:t>target</a:t>
            </a:r>
            <a:r>
              <a:rPr lang="fr-FR" b="1" dirty="0">
                <a:solidFill>
                  <a:schemeClr val="bg1"/>
                </a:solidFill>
              </a:rPr>
              <a:t> </a:t>
            </a:r>
            <a:r>
              <a:rPr lang="fr-FR" dirty="0">
                <a:solidFill>
                  <a:schemeClr val="bg1"/>
                </a:solidFill>
              </a:rPr>
              <a:t>– post a </a:t>
            </a:r>
            <a:r>
              <a:rPr lang="fr-FR" b="1" dirty="0" err="1">
                <a:solidFill>
                  <a:schemeClr val="bg1"/>
                </a:solidFill>
              </a:rPr>
              <a:t>request</a:t>
            </a:r>
            <a:endParaRPr lang="fr-FR" b="1" dirty="0">
              <a:solidFill>
                <a:schemeClr val="bg1"/>
              </a:solidFill>
            </a:endParaRPr>
          </a:p>
          <a:p>
            <a:pPr algn="ctr"/>
            <a:r>
              <a:rPr lang="fr-FR" dirty="0">
                <a:solidFill>
                  <a:schemeClr val="bg1"/>
                </a:solidFill>
              </a:rPr>
              <a:t>------------------------------------------------------------------------------------------------------------------------------------------------------------------------------------</a:t>
            </a:r>
          </a:p>
          <a:p>
            <a:pPr algn="ctr"/>
            <a:r>
              <a:rPr lang="fr-FR" dirty="0">
                <a:solidFill>
                  <a:schemeClr val="bg1"/>
                </a:solidFill>
              </a:rPr>
              <a:t>------------------------------</a:t>
            </a:r>
          </a:p>
        </p:txBody>
      </p:sp>
      <p:sp>
        <p:nvSpPr>
          <p:cNvPr id="9" name="Rectangle 8"/>
          <p:cNvSpPr/>
          <p:nvPr/>
        </p:nvSpPr>
        <p:spPr>
          <a:xfrm>
            <a:off x="179512" y="4932784"/>
            <a:ext cx="2664296" cy="159256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467544" y="1268760"/>
            <a:ext cx="8352928" cy="44762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/>
          <p:cNvSpPr txBox="1"/>
          <p:nvPr/>
        </p:nvSpPr>
        <p:spPr>
          <a:xfrm>
            <a:off x="1236149" y="1331476"/>
            <a:ext cx="65762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solidFill>
                  <a:schemeClr val="bg1"/>
                </a:solidFill>
              </a:rPr>
              <a:t>Register</a:t>
            </a:r>
            <a:r>
              <a:rPr lang="fr-FR" dirty="0">
                <a:solidFill>
                  <a:schemeClr val="bg1"/>
                </a:solidFill>
              </a:rPr>
              <a:t> as a </a:t>
            </a:r>
            <a:r>
              <a:rPr lang="fr-FR" b="1" dirty="0" err="1">
                <a:solidFill>
                  <a:schemeClr val="bg1"/>
                </a:solidFill>
              </a:rPr>
              <a:t>member</a:t>
            </a:r>
            <a:r>
              <a:rPr lang="fr-FR" b="1" dirty="0">
                <a:solidFill>
                  <a:schemeClr val="bg1"/>
                </a:solidFill>
              </a:rPr>
              <a:t> </a:t>
            </a:r>
            <a:r>
              <a:rPr lang="fr-FR" dirty="0">
                <a:solidFill>
                  <a:schemeClr val="bg1"/>
                </a:solidFill>
              </a:rPr>
              <a:t>of the </a:t>
            </a:r>
            <a:r>
              <a:rPr lang="fr-FR" dirty="0" err="1">
                <a:solidFill>
                  <a:schemeClr val="bg1"/>
                </a:solidFill>
              </a:rPr>
              <a:t>community</a:t>
            </a:r>
            <a:r>
              <a:rPr lang="fr-FR" dirty="0">
                <a:solidFill>
                  <a:schemeClr val="bg1"/>
                </a:solidFill>
              </a:rPr>
              <a:t> (free of charge)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51520" y="5013176"/>
            <a:ext cx="25202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solidFill>
                  <a:schemeClr val="bg1"/>
                </a:solidFill>
              </a:rPr>
              <a:t>View</a:t>
            </a:r>
            <a:r>
              <a:rPr lang="fr-FR" dirty="0">
                <a:solidFill>
                  <a:schemeClr val="bg1"/>
                </a:solidFill>
              </a:rPr>
              <a:t> of the </a:t>
            </a:r>
            <a:r>
              <a:rPr lang="fr-FR" b="1" dirty="0" err="1">
                <a:solidFill>
                  <a:schemeClr val="bg1"/>
                </a:solidFill>
              </a:rPr>
              <a:t>most</a:t>
            </a:r>
            <a:r>
              <a:rPr lang="fr-FR" b="1" dirty="0">
                <a:solidFill>
                  <a:schemeClr val="bg1"/>
                </a:solidFill>
              </a:rPr>
              <a:t> </a:t>
            </a:r>
            <a:r>
              <a:rPr lang="fr-FR" b="1" dirty="0" err="1">
                <a:solidFill>
                  <a:schemeClr val="bg1"/>
                </a:solidFill>
              </a:rPr>
              <a:t>frequent</a:t>
            </a:r>
            <a:r>
              <a:rPr lang="fr-FR" b="1" dirty="0">
                <a:solidFill>
                  <a:schemeClr val="bg1"/>
                </a:solidFill>
              </a:rPr>
              <a:t> user </a:t>
            </a:r>
            <a:r>
              <a:rPr lang="fr-FR" b="1" dirty="0" err="1">
                <a:solidFill>
                  <a:schemeClr val="bg1"/>
                </a:solidFill>
              </a:rPr>
              <a:t>health</a:t>
            </a:r>
            <a:r>
              <a:rPr lang="fr-FR" b="1" dirty="0">
                <a:solidFill>
                  <a:schemeClr val="bg1"/>
                </a:solidFill>
              </a:rPr>
              <a:t> </a:t>
            </a:r>
            <a:r>
              <a:rPr lang="fr-FR" b="1" dirty="0" err="1">
                <a:solidFill>
                  <a:schemeClr val="bg1"/>
                </a:solidFill>
              </a:rPr>
              <a:t>problems</a:t>
            </a:r>
            <a:endParaRPr lang="fr-FR" b="1" dirty="0">
              <a:solidFill>
                <a:schemeClr val="bg1"/>
              </a:solidFill>
            </a:endParaRPr>
          </a:p>
          <a:p>
            <a:pPr algn="ctr"/>
            <a:r>
              <a:rPr lang="fr-FR" dirty="0">
                <a:solidFill>
                  <a:schemeClr val="bg1"/>
                </a:solidFill>
              </a:rPr>
              <a:t>- per </a:t>
            </a:r>
            <a:r>
              <a:rPr lang="fr-FR" dirty="0" err="1">
                <a:solidFill>
                  <a:schemeClr val="bg1"/>
                </a:solidFill>
              </a:rPr>
              <a:t>region</a:t>
            </a:r>
            <a:r>
              <a:rPr lang="fr-FR" dirty="0">
                <a:solidFill>
                  <a:schemeClr val="bg1"/>
                </a:solidFill>
              </a:rPr>
              <a:t> and type of user issu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499992" y="1831310"/>
            <a:ext cx="3960440" cy="2372782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4553664" y="2940510"/>
            <a:ext cx="39193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u="sng" dirty="0">
                <a:solidFill>
                  <a:schemeClr val="bg1"/>
                </a:solidFill>
              </a:rPr>
              <a:t>Global </a:t>
            </a:r>
            <a:r>
              <a:rPr lang="fr-FR" b="1" u="sng" dirty="0" err="1">
                <a:solidFill>
                  <a:schemeClr val="bg1"/>
                </a:solidFill>
              </a:rPr>
              <a:t>Health</a:t>
            </a:r>
            <a:r>
              <a:rPr lang="fr-FR" b="1" u="sng" dirty="0">
                <a:solidFill>
                  <a:schemeClr val="bg1"/>
                </a:solidFill>
              </a:rPr>
              <a:t> Book </a:t>
            </a:r>
          </a:p>
          <a:p>
            <a:pPr algn="ctr"/>
            <a:r>
              <a:rPr lang="fr-FR" dirty="0">
                <a:solidFill>
                  <a:schemeClr val="bg1"/>
                </a:solidFill>
              </a:rPr>
              <a:t>the </a:t>
            </a:r>
            <a:r>
              <a:rPr lang="fr-FR" dirty="0" err="1">
                <a:solidFill>
                  <a:schemeClr val="bg1"/>
                </a:solidFill>
              </a:rPr>
              <a:t>universal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library</a:t>
            </a:r>
            <a:r>
              <a:rPr lang="fr-FR" dirty="0">
                <a:solidFill>
                  <a:schemeClr val="bg1"/>
                </a:solidFill>
              </a:rPr>
              <a:t> of </a:t>
            </a:r>
            <a:r>
              <a:rPr lang="fr-FR" dirty="0" err="1">
                <a:solidFill>
                  <a:schemeClr val="bg1"/>
                </a:solidFill>
              </a:rPr>
              <a:t>health</a:t>
            </a:r>
            <a:r>
              <a:rPr lang="fr-FR" dirty="0">
                <a:solidFill>
                  <a:schemeClr val="bg1"/>
                </a:solidFill>
              </a:rPr>
              <a:t> solutions </a:t>
            </a:r>
            <a:r>
              <a:rPr lang="fr-FR" dirty="0" err="1">
                <a:solidFill>
                  <a:schemeClr val="bg1"/>
                </a:solidFill>
              </a:rPr>
              <a:t>from</a:t>
            </a:r>
            <a:r>
              <a:rPr lang="fr-FR" dirty="0">
                <a:solidFill>
                  <a:schemeClr val="bg1"/>
                </a:solidFill>
              </a:rPr>
              <a:t> a (</a:t>
            </a:r>
            <a:r>
              <a:rPr lang="fr-FR" dirty="0" err="1">
                <a:solidFill>
                  <a:schemeClr val="bg1"/>
                </a:solidFill>
              </a:rPr>
              <a:t>personal</a:t>
            </a:r>
            <a:r>
              <a:rPr lang="fr-FR" dirty="0">
                <a:solidFill>
                  <a:schemeClr val="bg1"/>
                </a:solidFill>
              </a:rPr>
              <a:t> or </a:t>
            </a:r>
            <a:r>
              <a:rPr lang="fr-FR" dirty="0" err="1">
                <a:solidFill>
                  <a:schemeClr val="bg1"/>
                </a:solidFill>
              </a:rPr>
              <a:t>professional</a:t>
            </a:r>
            <a:r>
              <a:rPr lang="fr-FR" dirty="0">
                <a:solidFill>
                  <a:schemeClr val="bg1"/>
                </a:solidFill>
              </a:rPr>
              <a:t>) user perspective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4553664" y="1829195"/>
            <a:ext cx="38473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solidFill>
                  <a:schemeClr val="bg1"/>
                </a:solidFill>
              </a:rPr>
              <a:t>Describe</a:t>
            </a:r>
            <a:r>
              <a:rPr lang="fr-FR" dirty="0">
                <a:solidFill>
                  <a:schemeClr val="bg1"/>
                </a:solidFill>
              </a:rPr>
              <a:t> the </a:t>
            </a:r>
            <a:r>
              <a:rPr lang="fr-FR" b="1" dirty="0">
                <a:solidFill>
                  <a:schemeClr val="bg1"/>
                </a:solidFill>
              </a:rPr>
              <a:t>solution </a:t>
            </a:r>
            <a:r>
              <a:rPr lang="fr-FR" dirty="0">
                <a:solidFill>
                  <a:schemeClr val="bg1"/>
                </a:solidFill>
              </a:rPr>
              <a:t>for </a:t>
            </a:r>
            <a:r>
              <a:rPr lang="fr-FR" b="1" dirty="0">
                <a:solidFill>
                  <a:schemeClr val="bg1"/>
                </a:solidFill>
              </a:rPr>
              <a:t>a </a:t>
            </a:r>
            <a:r>
              <a:rPr lang="fr-FR" b="1" dirty="0" err="1">
                <a:solidFill>
                  <a:schemeClr val="bg1"/>
                </a:solidFill>
              </a:rPr>
              <a:t>health</a:t>
            </a:r>
            <a:r>
              <a:rPr lang="fr-FR" b="1" dirty="0">
                <a:solidFill>
                  <a:schemeClr val="bg1"/>
                </a:solidFill>
              </a:rPr>
              <a:t> issue or </a:t>
            </a:r>
            <a:r>
              <a:rPr lang="fr-FR" b="1" dirty="0" err="1">
                <a:solidFill>
                  <a:schemeClr val="bg1"/>
                </a:solidFill>
              </a:rPr>
              <a:t>target</a:t>
            </a:r>
            <a:r>
              <a:rPr lang="fr-FR" b="1" dirty="0">
                <a:solidFill>
                  <a:schemeClr val="bg1"/>
                </a:solidFill>
              </a:rPr>
              <a:t> </a:t>
            </a:r>
            <a:r>
              <a:rPr lang="fr-FR" dirty="0">
                <a:solidFill>
                  <a:schemeClr val="bg1"/>
                </a:solidFill>
              </a:rPr>
              <a:t>– post a </a:t>
            </a:r>
            <a:r>
              <a:rPr lang="fr-FR" b="1" dirty="0" err="1">
                <a:solidFill>
                  <a:schemeClr val="bg1"/>
                </a:solidFill>
              </a:rPr>
              <a:t>recipe</a:t>
            </a:r>
            <a:endParaRPr lang="fr-FR" b="1" dirty="0">
              <a:solidFill>
                <a:schemeClr val="bg1"/>
              </a:solidFill>
            </a:endParaRPr>
          </a:p>
          <a:p>
            <a:pPr algn="ctr"/>
            <a:r>
              <a:rPr lang="fr-FR" dirty="0">
                <a:solidFill>
                  <a:schemeClr val="bg1"/>
                </a:solidFill>
              </a:rPr>
              <a:t>------------------------------------------------------------------------------------------------</a:t>
            </a:r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15469" y="4280800"/>
            <a:ext cx="3036515" cy="226185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ZoneTexte 16"/>
          <p:cNvSpPr txBox="1"/>
          <p:nvPr/>
        </p:nvSpPr>
        <p:spPr>
          <a:xfrm>
            <a:off x="4499992" y="4316903"/>
            <a:ext cx="30445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solidFill>
                  <a:schemeClr val="bg1"/>
                </a:solidFill>
              </a:rPr>
              <a:t>Describe</a:t>
            </a:r>
            <a:r>
              <a:rPr lang="fr-FR" dirty="0">
                <a:solidFill>
                  <a:schemeClr val="bg1"/>
                </a:solidFill>
              </a:rPr>
              <a:t> a </a:t>
            </a:r>
            <a:r>
              <a:rPr lang="fr-FR" dirty="0" err="1">
                <a:solidFill>
                  <a:schemeClr val="bg1"/>
                </a:solidFill>
              </a:rPr>
              <a:t>health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technology</a:t>
            </a:r>
            <a:r>
              <a:rPr lang="fr-FR" dirty="0">
                <a:solidFill>
                  <a:schemeClr val="bg1"/>
                </a:solidFill>
              </a:rPr>
              <a:t>, </a:t>
            </a:r>
            <a:r>
              <a:rPr lang="fr-FR" dirty="0" err="1">
                <a:solidFill>
                  <a:schemeClr val="bg1"/>
                </a:solidFill>
              </a:rPr>
              <a:t>therapy</a:t>
            </a:r>
            <a:r>
              <a:rPr lang="fr-FR" dirty="0">
                <a:solidFill>
                  <a:schemeClr val="bg1"/>
                </a:solidFill>
              </a:rPr>
              <a:t>, </a:t>
            </a:r>
            <a:r>
              <a:rPr lang="fr-FR" dirty="0" err="1">
                <a:solidFill>
                  <a:schemeClr val="bg1"/>
                </a:solidFill>
              </a:rPr>
              <a:t>product</a:t>
            </a:r>
            <a:r>
              <a:rPr lang="fr-FR" dirty="0">
                <a:solidFill>
                  <a:schemeClr val="bg1"/>
                </a:solidFill>
              </a:rPr>
              <a:t> or service - propose a </a:t>
            </a:r>
            <a:r>
              <a:rPr lang="fr-FR" b="1" dirty="0">
                <a:solidFill>
                  <a:schemeClr val="bg1"/>
                </a:solidFill>
              </a:rPr>
              <a:t>solution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4556525" y="5805264"/>
            <a:ext cx="2983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u="sng" dirty="0">
                <a:solidFill>
                  <a:schemeClr val="bg1"/>
                </a:solidFill>
              </a:rPr>
              <a:t>Global </a:t>
            </a:r>
            <a:r>
              <a:rPr lang="fr-FR" b="1" u="sng" dirty="0" err="1">
                <a:solidFill>
                  <a:schemeClr val="bg1"/>
                </a:solidFill>
              </a:rPr>
              <a:t>Health</a:t>
            </a:r>
            <a:r>
              <a:rPr lang="fr-FR" b="1" u="sng" dirty="0">
                <a:solidFill>
                  <a:schemeClr val="bg1"/>
                </a:solidFill>
              </a:rPr>
              <a:t> Shop </a:t>
            </a:r>
          </a:p>
          <a:p>
            <a:pPr algn="ctr"/>
            <a:r>
              <a:rPr lang="fr-FR" dirty="0">
                <a:solidFill>
                  <a:schemeClr val="bg1"/>
                </a:solidFill>
              </a:rPr>
              <a:t>the </a:t>
            </a:r>
            <a:r>
              <a:rPr lang="fr-FR" dirty="0" err="1">
                <a:solidFill>
                  <a:schemeClr val="bg1"/>
                </a:solidFill>
              </a:rPr>
              <a:t>webshop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8723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ho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are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e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?</a:t>
            </a: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ore-Tizer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Community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547" y="5005164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12" y="1437981"/>
            <a:ext cx="9144000" cy="495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9659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TIZER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anguage</a:t>
            </a:r>
            <a:endParaRPr lang="fr-FR" sz="40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IZ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vocabulary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and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glossary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(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xtract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2416" y="133955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ZoneTexte 3"/>
          <p:cNvSpPr txBox="1"/>
          <p:nvPr/>
        </p:nvSpPr>
        <p:spPr>
          <a:xfrm>
            <a:off x="35496" y="1320543"/>
            <a:ext cx="8930845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Z 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mitt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information in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intracellula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z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TIZE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antl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ar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formation about global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sues and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-Tiz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TIZE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gniz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ecific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xperti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-</a:t>
            </a:r>
            <a:r>
              <a:rPr lang="fr-FR" sz="2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z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activ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z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am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ibut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animation of the Commu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vack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ua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oral contribution (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deo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lip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.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vacks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TIZE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o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vacks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 </a:t>
            </a:r>
            <a:r>
              <a:rPr lang="fr-FR" sz="2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binatio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12 main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ponsibl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mor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f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evit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nomy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bin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se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novativ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ac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chnologies, new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ciences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ign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mentar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apie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effective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diagnostics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atmen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0856820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fr-FR" sz="4800" b="1" dirty="0">
                <a:solidFill>
                  <a:schemeClr val="bg1"/>
                </a:solidFill>
                <a:effectLst/>
              </a:rPr>
              <a:t>QUANTUM HEALTH</a:t>
            </a:r>
            <a:br>
              <a:rPr lang="fr-FR" sz="4800" b="1" dirty="0">
                <a:solidFill>
                  <a:schemeClr val="bg1"/>
                </a:solidFill>
                <a:effectLst/>
              </a:rPr>
            </a:br>
            <a:r>
              <a:rPr lang="fr-FR" sz="4800" b="1" dirty="0">
                <a:solidFill>
                  <a:schemeClr val="bg1"/>
                </a:solidFill>
                <a:effectLst/>
              </a:rPr>
              <a:t>Initiative</a:t>
            </a:r>
          </a:p>
        </p:txBody>
      </p:sp>
      <p:sp>
        <p:nvSpPr>
          <p:cNvPr id="5123" name="Sous-titre 2"/>
          <p:cNvSpPr>
            <a:spLocks noGrp="1"/>
          </p:cNvSpPr>
          <p:nvPr>
            <p:ph type="subTitle" idx="1"/>
          </p:nvPr>
        </p:nvSpPr>
        <p:spPr>
          <a:xfrm>
            <a:off x="755576" y="2420888"/>
            <a:ext cx="5478760" cy="1913466"/>
          </a:xfrm>
        </p:spPr>
        <p:txBody>
          <a:bodyPr anchor="ctr"/>
          <a:lstStyle/>
          <a:p>
            <a:pPr marR="0" algn="ctr"/>
            <a:endParaRPr lang="fr-FR" altLang="fr-FR" sz="3200" b="1" dirty="0">
              <a:solidFill>
                <a:schemeClr val="bg1"/>
              </a:solidFill>
            </a:endParaRPr>
          </a:p>
          <a:p>
            <a:pPr marR="0" algn="ctr"/>
            <a:r>
              <a:rPr lang="fr-FR" altLang="fr-FR" sz="2800" b="1" dirty="0" err="1">
                <a:solidFill>
                  <a:schemeClr val="bg1"/>
                </a:solidFill>
              </a:rPr>
              <a:t>Become</a:t>
            </a:r>
            <a:r>
              <a:rPr lang="fr-FR" altLang="fr-FR" sz="2800" b="1" dirty="0">
                <a:solidFill>
                  <a:schemeClr val="bg1"/>
                </a:solidFill>
              </a:rPr>
              <a:t> Actor of </a:t>
            </a:r>
            <a:r>
              <a:rPr lang="fr-FR" altLang="fr-FR" sz="2800" b="1" dirty="0" err="1">
                <a:solidFill>
                  <a:schemeClr val="bg1"/>
                </a:solidFill>
              </a:rPr>
              <a:t>your</a:t>
            </a:r>
            <a:r>
              <a:rPr lang="fr-FR" altLang="fr-FR" sz="2800" b="1" dirty="0">
                <a:solidFill>
                  <a:schemeClr val="bg1"/>
                </a:solidFill>
              </a:rPr>
              <a:t> </a:t>
            </a:r>
            <a:r>
              <a:rPr lang="fr-FR" altLang="fr-FR" sz="2800" b="1" dirty="0" err="1">
                <a:solidFill>
                  <a:schemeClr val="bg1"/>
                </a:solidFill>
              </a:rPr>
              <a:t>Health</a:t>
            </a:r>
            <a:endParaRPr lang="fr-FR" altLang="fr-FR" sz="2800" b="1" dirty="0">
              <a:solidFill>
                <a:schemeClr val="bg1"/>
              </a:solidFill>
            </a:endParaRPr>
          </a:p>
        </p:txBody>
      </p:sp>
      <p:pic>
        <p:nvPicPr>
          <p:cNvPr id="5" name="Imag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403920"/>
            <a:ext cx="1100873" cy="52139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5004048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www.quantum-healthcare.com</a:t>
            </a:r>
          </a:p>
        </p:txBody>
      </p:sp>
      <p:pic>
        <p:nvPicPr>
          <p:cNvPr id="7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801" y="4519830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5051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fr-FR" dirty="0">
                <a:solidFill>
                  <a:schemeClr val="bg1"/>
                </a:solidFill>
                <a:effectLst/>
              </a:rPr>
              <a:t>QUANTUM HEALTH</a:t>
            </a:r>
            <a:br>
              <a:rPr lang="fr-FR" dirty="0">
                <a:solidFill>
                  <a:schemeClr val="bg1"/>
                </a:solidFill>
                <a:effectLst/>
              </a:rPr>
            </a:br>
            <a:r>
              <a:rPr lang="fr-FR" dirty="0">
                <a:solidFill>
                  <a:schemeClr val="bg1"/>
                </a:solidFill>
                <a:effectLst/>
              </a:rPr>
              <a:t>Initiative</a:t>
            </a:r>
          </a:p>
        </p:txBody>
      </p:sp>
      <p:sp>
        <p:nvSpPr>
          <p:cNvPr id="5123" name="Sous-titre 2"/>
          <p:cNvSpPr>
            <a:spLocks noGrp="1"/>
          </p:cNvSpPr>
          <p:nvPr>
            <p:ph type="subTitle" idx="1"/>
          </p:nvPr>
        </p:nvSpPr>
        <p:spPr>
          <a:xfrm>
            <a:off x="179512" y="2780928"/>
            <a:ext cx="4954250" cy="3024336"/>
          </a:xfrm>
        </p:spPr>
        <p:txBody>
          <a:bodyPr anchor="ctr">
            <a:normAutofit fontScale="62500" lnSpcReduction="20000"/>
          </a:bodyPr>
          <a:lstStyle/>
          <a:p>
            <a:pPr marR="0" algn="ctr"/>
            <a:endParaRPr lang="fr-FR" altLang="fr-FR" sz="3200" b="1" dirty="0">
              <a:solidFill>
                <a:schemeClr val="bg1"/>
              </a:solidFill>
            </a:endParaRPr>
          </a:p>
          <a:p>
            <a:pPr marR="0" algn="ctr"/>
            <a:r>
              <a:rPr lang="fr-FR" altLang="fr-FR" sz="2800" b="1" dirty="0">
                <a:solidFill>
                  <a:schemeClr val="bg1"/>
                </a:solidFill>
              </a:rPr>
              <a:t>A Global  </a:t>
            </a:r>
            <a:r>
              <a:rPr lang="fr-FR" altLang="fr-FR" sz="2800" b="1" dirty="0" err="1">
                <a:solidFill>
                  <a:schemeClr val="bg1"/>
                </a:solidFill>
              </a:rPr>
              <a:t>Health</a:t>
            </a:r>
            <a:r>
              <a:rPr lang="fr-FR" altLang="fr-FR" sz="2800" b="1" dirty="0">
                <a:solidFill>
                  <a:schemeClr val="bg1"/>
                </a:solidFill>
              </a:rPr>
              <a:t> User Community – </a:t>
            </a:r>
            <a:r>
              <a:rPr lang="fr-FR" altLang="fr-FR" sz="2800" dirty="0" err="1">
                <a:solidFill>
                  <a:schemeClr val="bg1"/>
                </a:solidFill>
              </a:rPr>
              <a:t>matching</a:t>
            </a:r>
            <a:r>
              <a:rPr lang="fr-FR" altLang="fr-FR" sz="2800" dirty="0">
                <a:solidFill>
                  <a:schemeClr val="bg1"/>
                </a:solidFill>
              </a:rPr>
              <a:t> </a:t>
            </a:r>
            <a:r>
              <a:rPr lang="fr-FR" altLang="fr-FR" sz="2800" dirty="0" err="1">
                <a:solidFill>
                  <a:schemeClr val="bg1"/>
                </a:solidFill>
              </a:rPr>
              <a:t>problems</a:t>
            </a:r>
            <a:r>
              <a:rPr lang="fr-FR" altLang="fr-FR" sz="2800" dirty="0">
                <a:solidFill>
                  <a:schemeClr val="bg1"/>
                </a:solidFill>
              </a:rPr>
              <a:t> </a:t>
            </a:r>
            <a:r>
              <a:rPr lang="fr-FR" altLang="fr-FR" sz="2800" dirty="0" err="1">
                <a:solidFill>
                  <a:schemeClr val="bg1"/>
                </a:solidFill>
              </a:rPr>
              <a:t>with</a:t>
            </a:r>
            <a:r>
              <a:rPr lang="fr-FR" altLang="fr-FR" sz="2800" dirty="0">
                <a:solidFill>
                  <a:schemeClr val="bg1"/>
                </a:solidFill>
              </a:rPr>
              <a:t> solutions</a:t>
            </a:r>
          </a:p>
          <a:p>
            <a:pPr marR="0" algn="ctr"/>
            <a:endParaRPr lang="fr-FR" altLang="fr-FR" sz="2800" b="1" dirty="0">
              <a:solidFill>
                <a:schemeClr val="bg1"/>
              </a:solidFill>
            </a:endParaRPr>
          </a:p>
          <a:p>
            <a:pPr marR="0" algn="ctr"/>
            <a:r>
              <a:rPr lang="fr-FR" altLang="fr-FR" sz="2800" b="1" dirty="0">
                <a:solidFill>
                  <a:schemeClr val="bg1"/>
                </a:solidFill>
              </a:rPr>
              <a:t>An </a:t>
            </a:r>
            <a:r>
              <a:rPr lang="fr-FR" altLang="fr-FR" sz="2800" b="1" dirty="0" err="1">
                <a:solidFill>
                  <a:schemeClr val="bg1"/>
                </a:solidFill>
              </a:rPr>
              <a:t>affordable</a:t>
            </a:r>
            <a:r>
              <a:rPr lang="fr-FR" altLang="fr-FR" sz="2800" b="1" dirty="0">
                <a:solidFill>
                  <a:schemeClr val="bg1"/>
                </a:solidFill>
              </a:rPr>
              <a:t> </a:t>
            </a:r>
            <a:r>
              <a:rPr lang="fr-FR" altLang="fr-FR" sz="2800" b="1" dirty="0" err="1">
                <a:solidFill>
                  <a:schemeClr val="bg1"/>
                </a:solidFill>
              </a:rPr>
              <a:t>access</a:t>
            </a:r>
            <a:r>
              <a:rPr lang="fr-FR" altLang="fr-FR" sz="2800" b="1" dirty="0">
                <a:solidFill>
                  <a:schemeClr val="bg1"/>
                </a:solidFill>
              </a:rPr>
              <a:t> for All – </a:t>
            </a:r>
            <a:r>
              <a:rPr lang="fr-FR" altLang="fr-FR" sz="2800" dirty="0">
                <a:solidFill>
                  <a:schemeClr val="bg1"/>
                </a:solidFill>
              </a:rPr>
              <a:t>to </a:t>
            </a:r>
            <a:r>
              <a:rPr lang="fr-FR" altLang="fr-FR" sz="2800" dirty="0" err="1">
                <a:solidFill>
                  <a:schemeClr val="bg1"/>
                </a:solidFill>
              </a:rPr>
              <a:t>natural</a:t>
            </a:r>
            <a:r>
              <a:rPr lang="fr-FR" altLang="fr-FR" sz="2800" dirty="0">
                <a:solidFill>
                  <a:schemeClr val="bg1"/>
                </a:solidFill>
              </a:rPr>
              <a:t>, non-invasive Global </a:t>
            </a:r>
            <a:r>
              <a:rPr lang="fr-FR" altLang="fr-FR" sz="2800" dirty="0" err="1">
                <a:solidFill>
                  <a:schemeClr val="bg1"/>
                </a:solidFill>
              </a:rPr>
              <a:t>Health</a:t>
            </a:r>
            <a:endParaRPr lang="fr-FR" altLang="fr-FR" sz="2800" dirty="0">
              <a:solidFill>
                <a:schemeClr val="bg1"/>
              </a:solidFill>
            </a:endParaRPr>
          </a:p>
          <a:p>
            <a:pPr marR="0" algn="ctr"/>
            <a:endParaRPr lang="fr-FR" altLang="fr-FR" sz="2800" b="1" dirty="0">
              <a:solidFill>
                <a:schemeClr val="bg1"/>
              </a:solidFill>
            </a:endParaRPr>
          </a:p>
          <a:p>
            <a:pPr marR="0" algn="ctr"/>
            <a:r>
              <a:rPr lang="fr-FR" altLang="fr-FR" sz="2800" b="1" dirty="0">
                <a:solidFill>
                  <a:schemeClr val="bg1"/>
                </a:solidFill>
              </a:rPr>
              <a:t>An effective solution - </a:t>
            </a:r>
            <a:r>
              <a:rPr lang="fr-FR" altLang="fr-FR" sz="2800" dirty="0">
                <a:solidFill>
                  <a:schemeClr val="bg1"/>
                </a:solidFill>
              </a:rPr>
              <a:t>for 80% of Global </a:t>
            </a:r>
            <a:r>
              <a:rPr lang="fr-FR" altLang="fr-FR" sz="2800" dirty="0" err="1">
                <a:solidFill>
                  <a:schemeClr val="bg1"/>
                </a:solidFill>
              </a:rPr>
              <a:t>Health</a:t>
            </a:r>
            <a:r>
              <a:rPr lang="fr-FR" altLang="fr-FR" sz="2800" dirty="0">
                <a:solidFill>
                  <a:schemeClr val="bg1"/>
                </a:solidFill>
              </a:rPr>
              <a:t> </a:t>
            </a:r>
            <a:r>
              <a:rPr lang="fr-FR" altLang="fr-FR" sz="2800" dirty="0" err="1">
                <a:solidFill>
                  <a:schemeClr val="bg1"/>
                </a:solidFill>
              </a:rPr>
              <a:t>problems</a:t>
            </a:r>
            <a:r>
              <a:rPr lang="fr-FR" altLang="fr-FR" sz="2800" dirty="0">
                <a:solidFill>
                  <a:schemeClr val="bg1"/>
                </a:solidFill>
              </a:rPr>
              <a:t> </a:t>
            </a:r>
            <a:r>
              <a:rPr lang="fr-FR" altLang="fr-FR" sz="2800" dirty="0" err="1">
                <a:solidFill>
                  <a:schemeClr val="bg1"/>
                </a:solidFill>
              </a:rPr>
              <a:t>across</a:t>
            </a:r>
            <a:r>
              <a:rPr lang="fr-FR" altLang="fr-FR" sz="2800" dirty="0">
                <a:solidFill>
                  <a:schemeClr val="bg1"/>
                </a:solidFill>
              </a:rPr>
              <a:t> the world</a:t>
            </a:r>
          </a:p>
          <a:p>
            <a:pPr marR="0" algn="ctr"/>
            <a:endParaRPr lang="fr-FR" altLang="fr-FR" sz="2800" b="1" dirty="0">
              <a:solidFill>
                <a:schemeClr val="bg1"/>
              </a:solidFill>
            </a:endParaRPr>
          </a:p>
        </p:txBody>
      </p:sp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487" y="4869160"/>
            <a:ext cx="1787252" cy="9534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54475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820472" y="5661248"/>
            <a:ext cx="216024" cy="216024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8820472" y="5877272"/>
            <a:ext cx="216024" cy="216024"/>
          </a:xfrm>
          <a:prstGeom prst="rect">
            <a:avLst/>
          </a:prstGeom>
          <a:solidFill>
            <a:srgbClr val="66FF3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5"/>
          <p:cNvSpPr/>
          <p:nvPr/>
        </p:nvSpPr>
        <p:spPr>
          <a:xfrm>
            <a:off x="8820472" y="6093296"/>
            <a:ext cx="216024" cy="216024"/>
          </a:xfrm>
          <a:prstGeom prst="rect">
            <a:avLst/>
          </a:prstGeom>
          <a:solidFill>
            <a:srgbClr val="00FFFF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8820472" y="6309320"/>
            <a:ext cx="216024" cy="216024"/>
          </a:xfrm>
          <a:prstGeom prst="rect">
            <a:avLst/>
          </a:prstGeom>
          <a:solidFill>
            <a:srgbClr val="FFCC6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8820472" y="6525344"/>
            <a:ext cx="216024" cy="216024"/>
          </a:xfrm>
          <a:prstGeom prst="rect">
            <a:avLst/>
          </a:prstGeom>
          <a:solidFill>
            <a:srgbClr val="FF996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The « </a:t>
            </a:r>
            <a:r>
              <a:rPr lang="fr-FR" dirty="0" err="1">
                <a:solidFill>
                  <a:schemeClr val="bg1"/>
                </a:solidFill>
              </a:rPr>
              <a:t>scientific</a:t>
            </a:r>
            <a:r>
              <a:rPr lang="fr-FR" dirty="0">
                <a:solidFill>
                  <a:schemeClr val="bg1"/>
                </a:solidFill>
              </a:rPr>
              <a:t> » part</a:t>
            </a:r>
          </a:p>
        </p:txBody>
      </p:sp>
      <p:sp>
        <p:nvSpPr>
          <p:cNvPr id="9" name="Sous-titr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err="1">
                <a:solidFill>
                  <a:schemeClr val="bg1"/>
                </a:solidFill>
              </a:rPr>
              <a:t>Overview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6808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323528" y="188640"/>
            <a:ext cx="84249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Where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it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mes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from</a:t>
            </a:r>
            <a:endParaRPr lang="fr-FR" sz="4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8696" y="1268760"/>
            <a:ext cx="8795792" cy="50485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6100" indent="-80645" algn="just">
              <a:spcBef>
                <a:spcPts val="35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A coming together of several streams of</a:t>
            </a:r>
            <a:r>
              <a:rPr lang="en-US" b="1" spc="-175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knowledge</a:t>
            </a:r>
            <a:endParaRPr lang="fr-FR" b="1" dirty="0">
              <a:solidFill>
                <a:schemeClr val="bg1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25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    </a:t>
            </a:r>
            <a:endParaRPr lang="fr-FR" sz="1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46100" marR="629285" algn="just">
              <a:lnSpc>
                <a:spcPct val="115000"/>
              </a:lnSpc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pace</a:t>
            </a:r>
            <a:r>
              <a:rPr lang="en-US" b="1" spc="-105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health</a:t>
            </a:r>
            <a:r>
              <a:rPr lang="en-US" b="1" spc="-105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research</a:t>
            </a:r>
            <a:r>
              <a:rPr lang="en-US" b="1" spc="-105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originally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tiated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ssian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ce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s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rly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70’s)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multaneous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coveries in global astrophysics and cosmic physiology (Europe, USA) which led to related developments of technologies</a:t>
            </a:r>
            <a:r>
              <a:rPr lang="en-US" spc="-7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spc="-7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vestigation</a:t>
            </a:r>
            <a:r>
              <a:rPr lang="en-US" spc="-7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7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apy</a:t>
            </a:r>
            <a:r>
              <a:rPr lang="en-US" spc="-7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7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smonauts.</a:t>
            </a:r>
            <a:endParaRPr lang="fr-FR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55"/>
              </a:spcBef>
              <a:spcAft>
                <a:spcPts val="0"/>
              </a:spcAf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    </a:t>
            </a:r>
            <a:endParaRPr lang="fr-FR" sz="1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46100" marR="629285" algn="just">
              <a:lnSpc>
                <a:spcPct val="115000"/>
              </a:lnSpc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b="1" spc="-15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n-US" b="1" spc="-15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imension</a:t>
            </a:r>
            <a:r>
              <a:rPr lang="en-US" b="1" spc="-15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b="1" spc="-15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hysiology</a:t>
            </a:r>
            <a:r>
              <a:rPr lang="en-US" b="1" spc="-15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Integrative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ysiomics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ich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ows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vision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hology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pc="-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fferent attitude, and to put it into a direct relationship with all other functions enabling us to understand the sense and cause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llness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lth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turbance.</a:t>
            </a:r>
            <a:endParaRPr lang="fr-FR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55"/>
              </a:spcBef>
              <a:spcAft>
                <a:spcPts val="0"/>
              </a:spcAf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     </a:t>
            </a:r>
            <a:endParaRPr lang="fr-FR" sz="1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46100" marR="629920" algn="just">
              <a:lnSpc>
                <a:spcPct val="115000"/>
              </a:lnSpc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b="1" spc="-6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ystematic</a:t>
            </a:r>
            <a:r>
              <a:rPr lang="en-US" b="1" spc="-6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spc="-1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view</a:t>
            </a:r>
            <a:r>
              <a:rPr lang="en-US" b="1" spc="-6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b="1" spc="-6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tructuration</a:t>
            </a:r>
            <a:r>
              <a:rPr lang="en-US" b="1" spc="-6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merous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ld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y-based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ines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apies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w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zed</a:t>
            </a:r>
            <a:r>
              <a:rPr lang="en-US" spc="-7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</a:t>
            </a:r>
            <a:r>
              <a:rPr lang="en-US" spc="-7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n-US" spc="-7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ence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stem</a:t>
            </a:r>
            <a:r>
              <a:rPr lang="en-US" spc="-7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ative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ine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on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nk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vestigation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en-US" spc="-7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7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ur branches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apies.</a:t>
            </a:r>
            <a:endParaRPr lang="fr-FR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0128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323528" y="188640"/>
            <a:ext cx="79208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What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benefits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it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provides</a:t>
            </a:r>
            <a:endParaRPr lang="fr-FR" sz="4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958081"/>
            <a:ext cx="8795792" cy="594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6100" indent="-80645" algn="just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Innovation and inherent breakthrough (</a:t>
            </a:r>
            <a:r>
              <a:rPr lang="en-US" b="1" dirty="0" err="1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Kaikazu</a:t>
            </a: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)</a:t>
            </a:r>
          </a:p>
          <a:p>
            <a:pPr marL="546100" indent="-80645" algn="just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                            </a:t>
            </a:r>
          </a:p>
          <a:p>
            <a:pPr marL="546100" indent="-80645" algn="just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Global Health Access and Improvement</a:t>
            </a:r>
            <a:r>
              <a:rPr lang="en-US" b="1" spc="-105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</a:p>
          <a:p>
            <a:pPr marL="831850" marR="629285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sy and Affordable access to Global Health for all</a:t>
            </a:r>
          </a:p>
          <a:p>
            <a:pPr marL="831850" marR="629285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ive Anticipation and Prevention</a:t>
            </a:r>
          </a:p>
          <a:p>
            <a:pPr marL="831850" marR="629285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ive Treatment of approx. 80% of Global Health issues</a:t>
            </a:r>
          </a:p>
          <a:p>
            <a:pPr marL="831850" marR="629285" indent="-285750" algn="just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ucation and  Autonomy Development of  Health Users (Patients)</a:t>
            </a:r>
          </a:p>
          <a:p>
            <a:pPr marL="546100" indent="-80645" algn="just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   </a:t>
            </a:r>
            <a:endParaRPr lang="fr-FR" b="1" dirty="0">
              <a:solidFill>
                <a:schemeClr val="bg1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6100" marR="629285" indent="-80645" algn="just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Global H</a:t>
            </a: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alth Total Cost Optimization</a:t>
            </a:r>
          </a:p>
          <a:p>
            <a:pPr marL="831850" marR="629285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n-intrusive technologies, natural therapies and products Prevention versus Cure, Root Cause Treatment versus Symptom suppression</a:t>
            </a:r>
          </a:p>
          <a:p>
            <a:pPr marL="831850" marR="629285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 times less costly, 5 times more effective – for ~ 80% of Global Health Issues</a:t>
            </a:r>
          </a:p>
          <a:p>
            <a:pPr marL="831850" marR="629285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mization of TCH (Total Cost of Health) in Integrative Medicine Approach (in combination with effective conventional Medicine)</a:t>
            </a:r>
          </a:p>
          <a:p>
            <a:pPr marL="546100" marR="629920" algn="just">
              <a:lnSpc>
                <a:spcPct val="115000"/>
              </a:lnSpc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</a:p>
          <a:p>
            <a:pPr marL="546100" marR="629920" algn="just">
              <a:lnSpc>
                <a:spcPct val="115000"/>
              </a:lnSpc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lobal Health Business Development</a:t>
            </a:r>
          </a:p>
          <a:p>
            <a:pPr marL="546100" marR="629920" algn="just">
              <a:lnSpc>
                <a:spcPct val="115000"/>
              </a:lnSpc>
              <a:spcAft>
                <a:spcPts val="0"/>
              </a:spcAft>
            </a:pP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   Excellent return for economic actors in all related areas (20-30%)</a:t>
            </a:r>
          </a:p>
          <a:p>
            <a:pPr marL="831850" marR="629920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nificant growth potential for direct and adjacent business development</a:t>
            </a:r>
          </a:p>
          <a:p>
            <a:pPr marL="831850" marR="629920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ment of new skills and jobs across health-related professions</a:t>
            </a:r>
          </a:p>
          <a:p>
            <a:pPr marL="831850" marR="629920" indent="-285750" algn="just">
              <a:lnSpc>
                <a:spcPct val="115000"/>
              </a:lnSpc>
              <a:spcAft>
                <a:spcPts val="0"/>
              </a:spcAft>
              <a:buFontTx/>
              <a:buChar char="-"/>
            </a:pPr>
            <a:r>
              <a:rPr lang="en-US" spc="-15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 and visibility for increased attraction of interest and people </a:t>
            </a:r>
            <a:endParaRPr lang="fr-FR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2443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agine </a:t>
            </a:r>
            <a:r>
              <a:rPr lang="fr-FR" sz="40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gain</a:t>
            </a:r>
            <a: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….</a:t>
            </a:r>
            <a:b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t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ld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ve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ss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ependantly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y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ocial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us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cial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</a:t>
            </a:r>
            <a:endParaRPr lang="fr-FR" sz="4000" cap="non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403920"/>
            <a:ext cx="1100873" cy="52139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ime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e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where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….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5004048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www.quantum-healthcare.com</a:t>
            </a:r>
          </a:p>
        </p:txBody>
      </p:sp>
      <p:pic>
        <p:nvPicPr>
          <p:cNvPr id="6" name="Picture 3" descr="Images intégrées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685" y="241998"/>
            <a:ext cx="582803" cy="582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99973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379197" y="188640"/>
            <a:ext cx="77048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mparative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benefits</a:t>
            </a:r>
            <a:endParaRPr lang="fr-FR" sz="4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928819"/>
            <a:ext cx="850990" cy="1804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33772" y="1124744"/>
            <a:ext cx="70745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ventional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cine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ive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ses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ergency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.g. need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gery)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ute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llnesses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se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ses</a:t>
            </a:r>
            <a:r>
              <a:rPr lang="en-US" spc="-6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resent approx.</a:t>
            </a:r>
            <a:r>
              <a:rPr lang="en-US" spc="-1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%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lth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blems.</a:t>
            </a:r>
            <a:r>
              <a:rPr lang="en-US" spc="-1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ntum</a:t>
            </a:r>
            <a:r>
              <a:rPr lang="en-US" spc="-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ealth is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ive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front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ection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vention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sible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llnesses,</a:t>
            </a:r>
            <a:r>
              <a:rPr lang="en-US" spc="-1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ot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use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agnostics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atment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 health cases outside of emergency and highly acute issues. These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ses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resent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maining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0%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</a:t>
            </a:r>
            <a:r>
              <a:rPr lang="en-US" spc="-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lth issues. Quantum Health does not replace conventional medicine, but effectively completes it. 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 a significant advantage in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6885" y="3631664"/>
            <a:ext cx="884760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0"/>
              </a:spcAft>
              <a:buClr>
                <a:srgbClr val="231F20"/>
              </a:buClr>
              <a:buSzPts val="1000"/>
              <a:buFont typeface="Calibri" panose="020F0502020204030204" pitchFamily="34" charset="0"/>
              <a:buChar char="•"/>
              <a:tabLst>
                <a:tab pos="702310" algn="l"/>
              </a:tabLs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ing</a:t>
            </a:r>
            <a:r>
              <a:rPr lang="en-US" spc="-3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en-US" spc="-3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ot</a:t>
            </a:r>
            <a:r>
              <a:rPr lang="en-US" spc="-3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uses</a:t>
            </a:r>
            <a:r>
              <a:rPr lang="en-US" spc="-3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en-US" spc="-3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rrent</a:t>
            </a:r>
            <a:r>
              <a:rPr lang="en-US" spc="-3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3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ture health</a:t>
            </a:r>
            <a:r>
              <a:rPr lang="en-US" spc="-9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sues,</a:t>
            </a:r>
            <a:r>
              <a:rPr lang="en-US" spc="-14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9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ifying</a:t>
            </a:r>
            <a:r>
              <a:rPr lang="en-US" spc="-9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lvl="0">
              <a:spcAft>
                <a:spcPts val="0"/>
              </a:spcAft>
              <a:buClr>
                <a:srgbClr val="231F20"/>
              </a:buClr>
              <a:buSzPts val="1000"/>
              <a:tabLst>
                <a:tab pos="702310" algn="l"/>
              </a:tabLst>
            </a:pPr>
            <a:r>
              <a:rPr lang="en-US" spc="-9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related</a:t>
            </a:r>
            <a:r>
              <a:rPr lang="en-US" spc="-9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me conditions</a:t>
            </a:r>
            <a:endParaRPr lang="fr-FR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1216025" indent="-342900">
              <a:spcAft>
                <a:spcPts val="0"/>
              </a:spcAft>
              <a:buClr>
                <a:srgbClr val="231F20"/>
              </a:buClr>
              <a:buSzPts val="1000"/>
              <a:buFont typeface="Calibri" panose="020F0502020204030204" pitchFamily="34" charset="0"/>
              <a:buChar char="•"/>
              <a:tabLst>
                <a:tab pos="702310" algn="l"/>
              </a:tabLs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tiating and accelerating the healing process via global and local therapies</a:t>
            </a:r>
            <a:endParaRPr lang="fr-FR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1330960" indent="-342900">
              <a:spcAft>
                <a:spcPts val="0"/>
              </a:spcAft>
              <a:buClr>
                <a:srgbClr val="231F20"/>
              </a:buClr>
              <a:buSzPts val="1000"/>
              <a:buFont typeface="Calibri" panose="020F0502020204030204" pitchFamily="34" charset="0"/>
              <a:buChar char="•"/>
              <a:tabLst>
                <a:tab pos="702310" algn="l"/>
              </a:tabLs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overing from current health issues and improving global health</a:t>
            </a:r>
            <a:endParaRPr lang="fr-FR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1186815" indent="-342900">
              <a:spcAft>
                <a:spcPts val="0"/>
              </a:spcAft>
              <a:buClr>
                <a:srgbClr val="231F20"/>
              </a:buClr>
              <a:buSzPts val="1000"/>
              <a:buFont typeface="Calibri" panose="020F0502020204030204" pitchFamily="34" charset="0"/>
              <a:buChar char="•"/>
              <a:tabLst>
                <a:tab pos="702310" algn="l"/>
              </a:tabLs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suring concrete effects of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atments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Quantum Health + Conventional)</a:t>
            </a:r>
            <a:endParaRPr lang="fr-FR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1293495" indent="-342900">
              <a:spcAft>
                <a:spcPts val="0"/>
              </a:spcAft>
              <a:buClr>
                <a:srgbClr val="231F20"/>
              </a:buClr>
              <a:buSzPts val="1000"/>
              <a:buFont typeface="Calibri" panose="020F0502020204030204" pitchFamily="34" charset="0"/>
              <a:buChar char="•"/>
              <a:tabLst>
                <a:tab pos="702310" algn="l"/>
              </a:tabLs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venting health issues to occur and/or to get out of control</a:t>
            </a:r>
            <a:endParaRPr lang="fr-FR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1275080" indent="-342900">
              <a:spcAft>
                <a:spcPts val="0"/>
              </a:spcAft>
              <a:buClr>
                <a:srgbClr val="231F20"/>
              </a:buClr>
              <a:buSzPts val="1000"/>
              <a:buFont typeface="Calibri" panose="020F0502020204030204" pitchFamily="34" charset="0"/>
              <a:buChar char="•"/>
              <a:tabLst>
                <a:tab pos="702310" algn="l"/>
              </a:tabLs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ing health autonomy and decreasing dependency on intrusive therapies and/or biochemical drugs</a:t>
            </a:r>
          </a:p>
          <a:p>
            <a:pPr marL="342900" marR="1275080" indent="-342900">
              <a:spcAft>
                <a:spcPts val="0"/>
              </a:spcAft>
              <a:buClr>
                <a:srgbClr val="231F20"/>
              </a:buClr>
              <a:buSzPts val="1000"/>
              <a:buFont typeface="Calibri" panose="020F0502020204030204" pitchFamily="34" charset="0"/>
              <a:buChar char="•"/>
              <a:tabLst>
                <a:tab pos="702310" algn="l"/>
              </a:tabLs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owing to live better and more autonomously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6156176" y="6012577"/>
            <a:ext cx="1296144" cy="584775"/>
          </a:xfrm>
          <a:prstGeom prst="rect">
            <a:avLst/>
          </a:prstGeom>
          <a:solidFill>
            <a:srgbClr val="FFFF99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  <a:latin typeface="+mj-lt"/>
              </a:rPr>
              <a:t>30+ </a:t>
            </a:r>
            <a:r>
              <a:rPr lang="fr-FR" sz="1600" b="1" dirty="0" err="1">
                <a:solidFill>
                  <a:schemeClr val="bg1"/>
                </a:solidFill>
                <a:latin typeface="+mj-lt"/>
              </a:rPr>
              <a:t>years</a:t>
            </a:r>
            <a:r>
              <a:rPr lang="fr-FR" sz="1600" b="1" dirty="0">
                <a:solidFill>
                  <a:schemeClr val="bg1"/>
                </a:solidFill>
                <a:latin typeface="+mj-lt"/>
              </a:rPr>
              <a:t> of </a:t>
            </a:r>
            <a:r>
              <a:rPr lang="fr-FR" sz="1600" b="1" dirty="0" err="1">
                <a:solidFill>
                  <a:schemeClr val="bg1"/>
                </a:solidFill>
                <a:latin typeface="+mj-lt"/>
              </a:rPr>
              <a:t>research</a:t>
            </a:r>
            <a:endParaRPr lang="fr-FR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7524328" y="6012577"/>
            <a:ext cx="1440160" cy="58477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  <a:latin typeface="+mj-lt"/>
              </a:rPr>
              <a:t>20+ </a:t>
            </a:r>
            <a:r>
              <a:rPr lang="fr-FR" sz="1600" b="1" dirty="0" err="1">
                <a:solidFill>
                  <a:schemeClr val="bg1"/>
                </a:solidFill>
                <a:latin typeface="+mj-lt"/>
              </a:rPr>
              <a:t>years</a:t>
            </a:r>
            <a:r>
              <a:rPr lang="fr-FR" sz="1600" b="1" dirty="0">
                <a:solidFill>
                  <a:schemeClr val="bg1"/>
                </a:solidFill>
                <a:latin typeface="+mj-lt"/>
              </a:rPr>
              <a:t> of practice</a:t>
            </a:r>
          </a:p>
        </p:txBody>
      </p:sp>
    </p:spTree>
    <p:extLst>
      <p:ext uri="{BB962C8B-B14F-4D97-AF65-F5344CB8AC3E}">
        <p14:creationId xmlns:p14="http://schemas.microsoft.com/office/powerpoint/2010/main" val="17271697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179513" y="188640"/>
            <a:ext cx="8964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QH Reference System - </a:t>
            </a:r>
            <a:r>
              <a:rPr lang="fr-FR" sz="40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overview</a:t>
            </a:r>
            <a:endParaRPr lang="fr-FR" sz="4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571" y="1553218"/>
            <a:ext cx="8385893" cy="4540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2346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35565" y="1052736"/>
            <a:ext cx="8972939" cy="5524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roduction to Global Health Vision and Quantum Therapy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fr-FR" sz="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vestigation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tient’s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360°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vestigation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2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in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iteria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fe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ctancy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en-US" spc="-3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ngevity) 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7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antum</a:t>
            </a:r>
            <a:r>
              <a:rPr lang="en-US" spc="-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en-US" spc="-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AS</a:t>
            </a:r>
            <a:r>
              <a:rPr lang="en-US" spc="-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”</a:t>
            </a:r>
            <a:r>
              <a:rPr lang="en-US" spc="-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en-US" spc="-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AS</a:t>
            </a:r>
            <a:r>
              <a:rPr lang="en-US" spc="-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LL”</a:t>
            </a:r>
            <a:r>
              <a:rPr lang="en-US" spc="-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pc="-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vestigation</a:t>
            </a:r>
            <a:r>
              <a:rPr lang="en-US" spc="-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en-US" spc="-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ot</a:t>
            </a:r>
            <a:r>
              <a:rPr lang="en-US" spc="-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use</a:t>
            </a:r>
            <a:r>
              <a:rPr lang="en-US" spc="-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agnosis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fr-FR" sz="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560705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ormational Quantum Therapy Level I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Global 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cific informational treatment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evant functions of 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y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ards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ot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uses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isting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coming</a:t>
            </a:r>
            <a:r>
              <a:rPr lang="en-US" spc="-4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lth issues)</a:t>
            </a:r>
          </a:p>
          <a:p>
            <a:pPr marL="342900" marR="560705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fr-FR" sz="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y-focused</a:t>
            </a:r>
            <a:r>
              <a:rPr lang="en-US" spc="1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ntum</a:t>
            </a:r>
            <a:r>
              <a:rPr lang="en-US" spc="1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apy</a:t>
            </a:r>
            <a:r>
              <a:rPr lang="en-US" spc="1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vel</a:t>
            </a:r>
            <a:r>
              <a:rPr lang="en-US" spc="1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I</a:t>
            </a:r>
            <a:r>
              <a:rPr lang="en-US" spc="15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ocal</a:t>
            </a:r>
            <a:r>
              <a:rPr lang="en-US" spc="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cific</a:t>
            </a:r>
            <a:r>
              <a:rPr lang="en-US" spc="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atment</a:t>
            </a:r>
            <a:r>
              <a:rPr lang="en-US" spc="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evant</a:t>
            </a:r>
            <a:r>
              <a:rPr lang="en-US" spc="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tions</a:t>
            </a:r>
            <a:r>
              <a:rPr lang="en-US" spc="10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eas</a:t>
            </a:r>
            <a:r>
              <a:rPr lang="en-US" spc="-6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US" spc="-2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y)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800" spc="-25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lementary therapy or therapies as required according to the results of the diagnosis and the recommended treatment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ntum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lth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pc="-1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am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.g.</a:t>
            </a:r>
            <a:r>
              <a:rPr lang="en-US" spc="-2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oma-therapy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spc="85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tional and/or emotional disorder)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fr-FR" sz="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cription of natural elements (trace elements, minerals, nutritional complements, aroma-therapy components and/or other relevant components for specific Quantum Health therapies)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fr-FR" sz="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vidual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briefing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vidual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ed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llow</a:t>
            </a:r>
            <a:r>
              <a:rPr lang="en-US" spc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323528" y="188640"/>
            <a:ext cx="85689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How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it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works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– </a:t>
            </a:r>
            <a:r>
              <a:rPr lang="fr-FR" sz="40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Sample</a:t>
            </a:r>
            <a:r>
              <a:rPr lang="fr-FR" sz="4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Protocol</a:t>
            </a:r>
            <a:endParaRPr lang="fr-FR" sz="4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34402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23528" y="188640"/>
            <a:ext cx="813690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Global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Health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and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Longevity</a:t>
            </a:r>
            <a:endParaRPr lang="fr-FR" sz="4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tangle 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19155" y="1556792"/>
            <a:ext cx="2901676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u="sng" dirty="0">
                <a:solidFill>
                  <a:schemeClr val="bg1"/>
                </a:solidFill>
                <a:latin typeface="Calibri" panose="020F0502020204030204" pitchFamily="34" charset="0"/>
                <a:cs typeface="Times New Roman" pitchFamily="18" charset="0"/>
              </a:rPr>
              <a:t>Personal resources</a:t>
            </a:r>
          </a:p>
          <a:p>
            <a:pPr marL="457200" indent="-4572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Quality of food</a:t>
            </a:r>
          </a:p>
          <a:p>
            <a:pPr marL="457200" indent="-4572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ater consumption</a:t>
            </a:r>
          </a:p>
          <a:p>
            <a:pPr marL="457200" indent="-4572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Breathing</a:t>
            </a:r>
          </a:p>
          <a:p>
            <a:pPr marL="457200" indent="-4572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Movement</a:t>
            </a:r>
          </a:p>
          <a:p>
            <a:pPr marL="457200" indent="-4572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anitary conditions</a:t>
            </a:r>
          </a:p>
          <a:p>
            <a:pPr marL="457200" indent="-4572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Mental condition</a:t>
            </a:r>
          </a:p>
        </p:txBody>
      </p:sp>
      <p:sp>
        <p:nvSpPr>
          <p:cNvPr id="7" name="Text Placeholder 9"/>
          <p:cNvSpPr txBox="1">
            <a:spLocks/>
          </p:cNvSpPr>
          <p:nvPr/>
        </p:nvSpPr>
        <p:spPr>
          <a:xfrm>
            <a:off x="164553" y="4390447"/>
            <a:ext cx="2520280" cy="175687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 anchor="b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0"/>
              </a:spcBef>
              <a:defRPr/>
            </a:pP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ea typeface="Georgia"/>
                <a:cs typeface="Georgia"/>
              </a:rPr>
              <a:t>Our 27-year statistical studies show that the average marginal life expectancy of the human population is 144 years. 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8" name="Group 11"/>
          <p:cNvGrpSpPr/>
          <p:nvPr/>
        </p:nvGrpSpPr>
        <p:grpSpPr>
          <a:xfrm>
            <a:off x="2782068" y="4156441"/>
            <a:ext cx="3687367" cy="2512919"/>
            <a:chOff x="1370096" y="1455511"/>
            <a:chExt cx="6726572" cy="3917217"/>
          </a:xfrm>
        </p:grpSpPr>
        <p:pic>
          <p:nvPicPr>
            <p:cNvPr id="9" name="Picture 1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69" t="13185" r="8260" b="12328"/>
            <a:stretch>
              <a:fillRect/>
            </a:stretch>
          </p:blipFill>
          <p:spPr bwMode="auto">
            <a:xfrm>
              <a:off x="1370096" y="1455511"/>
              <a:ext cx="6726572" cy="3917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ight Arrow 13"/>
            <p:cNvSpPr/>
            <p:nvPr/>
          </p:nvSpPr>
          <p:spPr>
            <a:xfrm>
              <a:off x="2278743" y="3149600"/>
              <a:ext cx="3933371" cy="45719"/>
            </a:xfrm>
            <a:prstGeom prst="rightArrow">
              <a:avLst/>
            </a:prstGeom>
            <a:solidFill>
              <a:srgbClr val="00CC99"/>
            </a:solidFill>
            <a:ln w="25400" cap="flat" cmpd="sng" algn="ctr">
              <a:solidFill>
                <a:srgbClr val="00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de-DE" kern="0">
                <a:solidFill>
                  <a:srgbClr val="FFFFFF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1" name="Right Arrow 14"/>
            <p:cNvSpPr/>
            <p:nvPr/>
          </p:nvSpPr>
          <p:spPr>
            <a:xfrm>
              <a:off x="2278743" y="2953003"/>
              <a:ext cx="3918656" cy="484632"/>
            </a:xfrm>
            <a:prstGeom prst="rightArrow">
              <a:avLst/>
            </a:prstGeom>
            <a:solidFill>
              <a:srgbClr val="00CC99"/>
            </a:solidFill>
            <a:ln w="25400" cap="flat" cmpd="sng" algn="ctr">
              <a:solidFill>
                <a:srgbClr val="00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de-DE" kern="0">
                <a:solidFill>
                  <a:srgbClr val="FFFFFF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2" name="TextBox 1"/>
          <p:cNvSpPr txBox="1"/>
          <p:nvPr/>
        </p:nvSpPr>
        <p:spPr>
          <a:xfrm>
            <a:off x="406821" y="908720"/>
            <a:ext cx="80536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  <a:latin typeface="+mj-lt"/>
                <a:cs typeface="Aparajita" pitchFamily="34" charset="0"/>
              </a:rPr>
              <a:t>depends on use of </a:t>
            </a:r>
            <a:r>
              <a:rPr lang="en-US" sz="2400" b="1" dirty="0">
                <a:solidFill>
                  <a:schemeClr val="bg1"/>
                </a:solidFill>
                <a:latin typeface="+mj-lt"/>
                <a:cs typeface="Aparajita" pitchFamily="34" charset="0"/>
              </a:rPr>
              <a:t>personal </a:t>
            </a:r>
            <a:r>
              <a:rPr lang="en-US" sz="2400" dirty="0">
                <a:solidFill>
                  <a:schemeClr val="bg1"/>
                </a:solidFill>
                <a:latin typeface="+mj-lt"/>
                <a:cs typeface="Aparajita" pitchFamily="34" charset="0"/>
              </a:rPr>
              <a:t>and </a:t>
            </a:r>
            <a:r>
              <a:rPr lang="en-US" sz="2400" b="1" dirty="0">
                <a:solidFill>
                  <a:schemeClr val="bg1"/>
                </a:solidFill>
                <a:latin typeface="+mj-lt"/>
                <a:cs typeface="Aparajita" pitchFamily="34" charset="0"/>
              </a:rPr>
              <a:t>public</a:t>
            </a:r>
            <a:r>
              <a:rPr lang="en-US" sz="2400" dirty="0">
                <a:solidFill>
                  <a:schemeClr val="bg1"/>
                </a:solidFill>
                <a:latin typeface="+mj-lt"/>
                <a:cs typeface="Aparajita" pitchFamily="34" charset="0"/>
              </a:rPr>
              <a:t> resources 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5580112" y="1556792"/>
            <a:ext cx="3563888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>
                <a:solidFill>
                  <a:schemeClr val="bg1"/>
                </a:solidFill>
                <a:latin typeface="Calibri" panose="020F0502020204030204" pitchFamily="34" charset="0"/>
                <a:cs typeface="Times New Roman" pitchFamily="18" charset="0"/>
              </a:rPr>
              <a:t>Public resources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Quality of educ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cial habit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Medical servi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Heredit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orking condi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nvironmental condition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13" name="Text Placeholder 9"/>
          <p:cNvSpPr txBox="1">
            <a:spLocks/>
          </p:cNvSpPr>
          <p:nvPr/>
        </p:nvSpPr>
        <p:spPr>
          <a:xfrm>
            <a:off x="6566671" y="4523200"/>
            <a:ext cx="2393029" cy="149136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 anchor="b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0"/>
              </a:spcBef>
              <a:defRPr/>
            </a:pP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ea typeface="Georgia"/>
                <a:cs typeface="Georgia"/>
              </a:rPr>
              <a:t>The current generation uses only 30% of the potential of the resources granted to us.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35446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23528" y="188640"/>
            <a:ext cx="77048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Global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Health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– user case</a:t>
            </a:r>
          </a:p>
        </p:txBody>
      </p:sp>
      <p:pic>
        <p:nvPicPr>
          <p:cNvPr id="109" name="Picture 1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88" t="11470" r="8101" b="18449"/>
          <a:stretch/>
        </p:blipFill>
        <p:spPr bwMode="auto">
          <a:xfrm>
            <a:off x="3321468" y="2204864"/>
            <a:ext cx="5704258" cy="428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0" name="Group 1"/>
          <p:cNvGrpSpPr/>
          <p:nvPr/>
        </p:nvGrpSpPr>
        <p:grpSpPr>
          <a:xfrm>
            <a:off x="0" y="908720"/>
            <a:ext cx="7407545" cy="6000574"/>
            <a:chOff x="47857" y="901983"/>
            <a:chExt cx="7407545" cy="6000574"/>
          </a:xfrm>
        </p:grpSpPr>
        <p:sp>
          <p:nvSpPr>
            <p:cNvPr id="111" name="TextBox 8"/>
            <p:cNvSpPr txBox="1"/>
            <p:nvPr/>
          </p:nvSpPr>
          <p:spPr>
            <a:xfrm>
              <a:off x="443393" y="901983"/>
              <a:ext cx="70120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b="1" dirty="0">
                  <a:solidFill>
                    <a:schemeClr val="bg1"/>
                  </a:solidFill>
                  <a:latin typeface="Calibri" pitchFamily="34" charset="0"/>
                  <a:cs typeface="Arial" charset="0"/>
                </a:rPr>
                <a:t>Level of business activity and Life Span</a:t>
              </a:r>
            </a:p>
          </p:txBody>
        </p:sp>
        <p:sp>
          <p:nvSpPr>
            <p:cNvPr id="112" name="TextBox 30"/>
            <p:cNvSpPr txBox="1"/>
            <p:nvPr/>
          </p:nvSpPr>
          <p:spPr>
            <a:xfrm>
              <a:off x="47857" y="2378242"/>
              <a:ext cx="3491879" cy="45243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The most critical parameters of a resource are chosen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The recommended lifestyle  is calculated(see a red curve).  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Forthcoming period of active longevity: 12,9 years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Expected life expectancy: 95,8 years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Rating of longevity (0-1): 0,76  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Optimum weight: 69,95 kg 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Losses of years  because of overweight: 4,66 years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Quality of life (0-1): 0,88 </a:t>
              </a:r>
            </a:p>
            <a:p>
              <a:pPr marL="265113" indent="-265113" fontAlgn="base">
                <a:spcBef>
                  <a:spcPct val="0"/>
                </a:spcBef>
                <a:buFont typeface="Wingdings"/>
                <a:buChar char=""/>
                <a:tabLst>
                  <a:tab pos="457200" algn="l"/>
                </a:tabLst>
              </a:pPr>
              <a:r>
                <a:rPr lang="en-US" b="1" dirty="0">
                  <a:solidFill>
                    <a:schemeClr val="bg1"/>
                  </a:solidFill>
                  <a:latin typeface="Calibri"/>
                  <a:ea typeface="Times New Roman"/>
                  <a:cs typeface="Arial"/>
                </a:rPr>
                <a:t>The optimum curve of life is calculated (see a green curve).</a:t>
              </a:r>
            </a:p>
            <a:p>
              <a:pPr fontAlgn="base">
                <a:spcBef>
                  <a:spcPct val="0"/>
                </a:spcBef>
                <a:spcAft>
                  <a:spcPts val="600"/>
                </a:spcAft>
              </a:pPr>
              <a:endParaRPr lang="en-US" dirty="0">
                <a:solidFill>
                  <a:schemeClr val="bg1"/>
                </a:solidFill>
                <a:latin typeface="Calibri" pitchFamily="34" charset="0"/>
                <a:cs typeface="Arial" charset="0"/>
              </a:endParaRPr>
            </a:p>
          </p:txBody>
        </p:sp>
        <p:sp>
          <p:nvSpPr>
            <p:cNvPr id="113" name="Oval 18"/>
            <p:cNvSpPr/>
            <p:nvPr/>
          </p:nvSpPr>
          <p:spPr>
            <a:xfrm>
              <a:off x="6826378" y="4071191"/>
              <a:ext cx="172174" cy="93669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14" name="TextBox 2"/>
          <p:cNvSpPr txBox="1"/>
          <p:nvPr/>
        </p:nvSpPr>
        <p:spPr>
          <a:xfrm>
            <a:off x="0" y="1665784"/>
            <a:ext cx="90521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 fontAlgn="base">
              <a:spcBef>
                <a:spcPct val="0"/>
              </a:spcBef>
              <a:buFont typeface="Wingdings"/>
              <a:buChar char=""/>
              <a:tabLst>
                <a:tab pos="457200" algn="l"/>
              </a:tabLst>
            </a:pPr>
            <a:r>
              <a:rPr lang="en-US" b="1" dirty="0">
                <a:solidFill>
                  <a:schemeClr val="bg1"/>
                </a:solidFill>
                <a:latin typeface="Calibri"/>
                <a:ea typeface="Times New Roman"/>
                <a:cs typeface="Arial"/>
              </a:rPr>
              <a:t>The patient is on the bottom border of a zone of active longevity (see a blue curve). The age is indicated by a blue point.   </a:t>
            </a:r>
          </a:p>
        </p:txBody>
      </p:sp>
      <p:sp>
        <p:nvSpPr>
          <p:cNvPr id="115" name="Oval 4"/>
          <p:cNvSpPr/>
          <p:nvPr/>
        </p:nvSpPr>
        <p:spPr>
          <a:xfrm flipH="1">
            <a:off x="6778521" y="4030389"/>
            <a:ext cx="172174" cy="9437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6" name="Oval 27"/>
          <p:cNvSpPr/>
          <p:nvPr/>
        </p:nvSpPr>
        <p:spPr>
          <a:xfrm flipH="1">
            <a:off x="6778521" y="4092025"/>
            <a:ext cx="172174" cy="9437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7" name="Oval 7"/>
          <p:cNvSpPr/>
          <p:nvPr/>
        </p:nvSpPr>
        <p:spPr>
          <a:xfrm flipH="1">
            <a:off x="6791736" y="3144452"/>
            <a:ext cx="172173" cy="121187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5621319" y="4571174"/>
            <a:ext cx="24865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base">
              <a:spcBef>
                <a:spcPct val="0"/>
              </a:spcBef>
            </a:pPr>
            <a:r>
              <a:rPr lang="en-US" sz="1600" b="1" dirty="0">
                <a:solidFill>
                  <a:srgbClr val="FF0000"/>
                </a:solidFill>
                <a:latin typeface="Bookman Old Style" pitchFamily="18" charset="0"/>
              </a:rPr>
              <a:t>HOW MANY YEARS + </a:t>
            </a:r>
            <a:endParaRPr lang="ru-RU" sz="1600" b="1" dirty="0">
              <a:solidFill>
                <a:srgbClr val="FF0000"/>
              </a:solidFill>
              <a:latin typeface="Bookman Old Style" pitchFamily="18" charset="0"/>
            </a:endParaRPr>
          </a:p>
        </p:txBody>
      </p:sp>
      <p:cxnSp>
        <p:nvCxnSpPr>
          <p:cNvPr id="119" name="Straight Arrow Connector 6"/>
          <p:cNvCxnSpPr/>
          <p:nvPr/>
        </p:nvCxnSpPr>
        <p:spPr>
          <a:xfrm flipV="1">
            <a:off x="6012160" y="3789040"/>
            <a:ext cx="1152128" cy="782134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/>
          <p:cNvSpPr/>
          <p:nvPr/>
        </p:nvSpPr>
        <p:spPr>
          <a:xfrm>
            <a:off x="4072403" y="2944232"/>
            <a:ext cx="25186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base">
              <a:spcBef>
                <a:spcPct val="0"/>
              </a:spcBef>
            </a:pPr>
            <a:r>
              <a:rPr lang="en-US" sz="1200" b="1" dirty="0">
                <a:solidFill>
                  <a:srgbClr val="FF0000"/>
                </a:solidFill>
                <a:latin typeface="Bookman Old Style" pitchFamily="18" charset="0"/>
              </a:rPr>
              <a:t>ADDED HEALTH RESOURCE </a:t>
            </a:r>
            <a:endParaRPr lang="ru-RU" sz="1200" b="1" dirty="0">
              <a:solidFill>
                <a:srgbClr val="FF0000"/>
              </a:solidFill>
              <a:latin typeface="Bookman Old Style" pitchFamily="18" charset="0"/>
            </a:endParaRPr>
          </a:p>
        </p:txBody>
      </p:sp>
      <p:cxnSp>
        <p:nvCxnSpPr>
          <p:cNvPr id="121" name="Straight Arrow Connector 19"/>
          <p:cNvCxnSpPr/>
          <p:nvPr/>
        </p:nvCxnSpPr>
        <p:spPr>
          <a:xfrm flipV="1">
            <a:off x="6173597" y="2935556"/>
            <a:ext cx="604924" cy="269489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1"/>
          <p:cNvCxnSpPr/>
          <p:nvPr/>
        </p:nvCxnSpPr>
        <p:spPr>
          <a:xfrm>
            <a:off x="6877822" y="2708920"/>
            <a:ext cx="20211" cy="453272"/>
          </a:xfrm>
          <a:prstGeom prst="straightConnector1">
            <a:avLst/>
          </a:prstGeom>
          <a:ln w="381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86251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323528" y="188640"/>
            <a:ext cx="77048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How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we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will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develop</a:t>
            </a:r>
            <a:r>
              <a:rPr lang="fr-FR" sz="4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44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it</a:t>
            </a:r>
            <a:endParaRPr lang="fr-FR" sz="4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43200" y="1259723"/>
            <a:ext cx="2137337" cy="619843"/>
          </a:xfrm>
          <a:prstGeom prst="rect">
            <a:avLst/>
          </a:prstGeom>
          <a:solidFill>
            <a:srgbClr val="66FF66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Quantum </a:t>
            </a:r>
            <a:r>
              <a:rPr kumimoji="0" lang="fr-FR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ealth</a:t>
            </a: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(QH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QM </a:t>
            </a: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eference System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H </a:t>
            </a:r>
            <a:r>
              <a:rPr kumimoji="0" lang="fr-FR" sz="1400" b="1" i="0" u="sng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gresses</a:t>
            </a:r>
            <a:r>
              <a:rPr kumimoji="0" lang="fr-FR" sz="14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&amp; R&amp;D</a:t>
            </a:r>
          </a:p>
        </p:txBody>
      </p:sp>
      <p:grpSp>
        <p:nvGrpSpPr>
          <p:cNvPr id="7" name="Groupe 6"/>
          <p:cNvGrpSpPr>
            <a:grpSpLocks noChangeAspect="1"/>
          </p:cNvGrpSpPr>
          <p:nvPr/>
        </p:nvGrpSpPr>
        <p:grpSpPr>
          <a:xfrm>
            <a:off x="5192766" y="1284744"/>
            <a:ext cx="3623178" cy="754380"/>
            <a:chOff x="1371601" y="3124201"/>
            <a:chExt cx="5714998" cy="1189914"/>
          </a:xfrm>
        </p:grpSpPr>
        <p:grpSp>
          <p:nvGrpSpPr>
            <p:cNvPr id="8" name="Groupe 7"/>
            <p:cNvGrpSpPr>
              <a:grpSpLocks noChangeAspect="1"/>
            </p:cNvGrpSpPr>
            <p:nvPr/>
          </p:nvGrpSpPr>
          <p:grpSpPr>
            <a:xfrm>
              <a:off x="1371601" y="3124201"/>
              <a:ext cx="533400" cy="1143000"/>
              <a:chOff x="2133600" y="3429000"/>
              <a:chExt cx="533400" cy="1143000"/>
            </a:xfrm>
          </p:grpSpPr>
          <p:sp>
            <p:nvSpPr>
              <p:cNvPr id="39" name="Ellipse 38"/>
              <p:cNvSpPr/>
              <p:nvPr/>
            </p:nvSpPr>
            <p:spPr>
              <a:xfrm>
                <a:off x="2133600" y="3429000"/>
                <a:ext cx="533400" cy="1143000"/>
              </a:xfrm>
              <a:prstGeom prst="ellipse">
                <a:avLst/>
              </a:prstGeom>
              <a:solidFill>
                <a:srgbClr val="99FF66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0" name="Groupe 39"/>
              <p:cNvGrpSpPr/>
              <p:nvPr/>
            </p:nvGrpSpPr>
            <p:grpSpPr>
              <a:xfrm>
                <a:off x="2324100" y="3554958"/>
                <a:ext cx="152400" cy="891085"/>
                <a:chOff x="2324100" y="3581400"/>
                <a:chExt cx="152400" cy="891085"/>
              </a:xfrm>
            </p:grpSpPr>
            <p:sp>
              <p:nvSpPr>
                <p:cNvPr id="41" name="Ellipse 40"/>
                <p:cNvSpPr/>
                <p:nvPr/>
              </p:nvSpPr>
              <p:spPr>
                <a:xfrm>
                  <a:off x="2324100" y="35814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Ellipse 41"/>
                <p:cNvSpPr/>
                <p:nvPr/>
              </p:nvSpPr>
              <p:spPr>
                <a:xfrm>
                  <a:off x="2324100" y="3827628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Ellipse 42"/>
                <p:cNvSpPr/>
                <p:nvPr/>
              </p:nvSpPr>
              <p:spPr>
                <a:xfrm>
                  <a:off x="2324100" y="4073856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Ellipse 43"/>
                <p:cNvSpPr/>
                <p:nvPr/>
              </p:nvSpPr>
              <p:spPr>
                <a:xfrm>
                  <a:off x="2324100" y="4320085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" name="Groupe 8"/>
            <p:cNvGrpSpPr>
              <a:grpSpLocks noChangeAspect="1"/>
            </p:cNvGrpSpPr>
            <p:nvPr/>
          </p:nvGrpSpPr>
          <p:grpSpPr>
            <a:xfrm>
              <a:off x="3962401" y="3171115"/>
              <a:ext cx="533400" cy="1143000"/>
              <a:chOff x="2133600" y="3429000"/>
              <a:chExt cx="533400" cy="1143000"/>
            </a:xfrm>
          </p:grpSpPr>
          <p:sp>
            <p:nvSpPr>
              <p:cNvPr id="33" name="Ellipse 32"/>
              <p:cNvSpPr/>
              <p:nvPr/>
            </p:nvSpPr>
            <p:spPr>
              <a:xfrm>
                <a:off x="2133600" y="3429000"/>
                <a:ext cx="533400" cy="1143000"/>
              </a:xfrm>
              <a:prstGeom prst="ellipse">
                <a:avLst/>
              </a:prstGeom>
              <a:solidFill>
                <a:srgbClr val="99FF66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34" name="Groupe 33"/>
              <p:cNvGrpSpPr/>
              <p:nvPr/>
            </p:nvGrpSpPr>
            <p:grpSpPr>
              <a:xfrm>
                <a:off x="2324100" y="3554958"/>
                <a:ext cx="152400" cy="891085"/>
                <a:chOff x="2324100" y="3581400"/>
                <a:chExt cx="152400" cy="891085"/>
              </a:xfrm>
            </p:grpSpPr>
            <p:sp>
              <p:nvSpPr>
                <p:cNvPr id="35" name="Ellipse 34"/>
                <p:cNvSpPr/>
                <p:nvPr/>
              </p:nvSpPr>
              <p:spPr>
                <a:xfrm>
                  <a:off x="2324100" y="35814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Ellipse 35"/>
                <p:cNvSpPr/>
                <p:nvPr/>
              </p:nvSpPr>
              <p:spPr>
                <a:xfrm>
                  <a:off x="2324100" y="3827628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Ellipse 36"/>
                <p:cNvSpPr/>
                <p:nvPr/>
              </p:nvSpPr>
              <p:spPr>
                <a:xfrm>
                  <a:off x="2324100" y="4073856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Ellipse 37"/>
                <p:cNvSpPr/>
                <p:nvPr/>
              </p:nvSpPr>
              <p:spPr>
                <a:xfrm>
                  <a:off x="2324100" y="4320085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0" name="Groupe 9"/>
            <p:cNvGrpSpPr>
              <a:grpSpLocks noChangeAspect="1"/>
            </p:cNvGrpSpPr>
            <p:nvPr/>
          </p:nvGrpSpPr>
          <p:grpSpPr>
            <a:xfrm>
              <a:off x="6553199" y="3124201"/>
              <a:ext cx="533400" cy="1143000"/>
              <a:chOff x="2133600" y="3429000"/>
              <a:chExt cx="533400" cy="1143000"/>
            </a:xfrm>
          </p:grpSpPr>
          <p:sp>
            <p:nvSpPr>
              <p:cNvPr id="27" name="Ellipse 26"/>
              <p:cNvSpPr/>
              <p:nvPr/>
            </p:nvSpPr>
            <p:spPr>
              <a:xfrm>
                <a:off x="2133600" y="3429000"/>
                <a:ext cx="533400" cy="1143000"/>
              </a:xfrm>
              <a:prstGeom prst="ellipse">
                <a:avLst/>
              </a:prstGeom>
              <a:solidFill>
                <a:srgbClr val="99FF66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8" name="Groupe 27"/>
              <p:cNvGrpSpPr/>
              <p:nvPr/>
            </p:nvGrpSpPr>
            <p:grpSpPr>
              <a:xfrm>
                <a:off x="2324100" y="3554958"/>
                <a:ext cx="152400" cy="891085"/>
                <a:chOff x="2324100" y="3581400"/>
                <a:chExt cx="152400" cy="891085"/>
              </a:xfrm>
            </p:grpSpPr>
            <p:sp>
              <p:nvSpPr>
                <p:cNvPr id="29" name="Ellipse 28"/>
                <p:cNvSpPr/>
                <p:nvPr/>
              </p:nvSpPr>
              <p:spPr>
                <a:xfrm>
                  <a:off x="2324100" y="35814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Ellipse 29"/>
                <p:cNvSpPr/>
                <p:nvPr/>
              </p:nvSpPr>
              <p:spPr>
                <a:xfrm>
                  <a:off x="2324100" y="3827628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Ellipse 30"/>
                <p:cNvSpPr/>
                <p:nvPr/>
              </p:nvSpPr>
              <p:spPr>
                <a:xfrm>
                  <a:off x="2324100" y="4073856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Ellipse 31"/>
                <p:cNvSpPr/>
                <p:nvPr/>
              </p:nvSpPr>
              <p:spPr>
                <a:xfrm>
                  <a:off x="2324100" y="4320085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 w="317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1" name="Groupe 10"/>
            <p:cNvGrpSpPr/>
            <p:nvPr/>
          </p:nvGrpSpPr>
          <p:grpSpPr>
            <a:xfrm>
              <a:off x="2514601" y="3352799"/>
              <a:ext cx="838200" cy="838201"/>
              <a:chOff x="2209800" y="3352799"/>
              <a:chExt cx="838200" cy="838201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2209800" y="33527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2362200" y="35051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2514600" y="36575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2667000" y="38099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2819400" y="39623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2" name="Flèche droite 11"/>
            <p:cNvSpPr/>
            <p:nvPr/>
          </p:nvSpPr>
          <p:spPr>
            <a:xfrm>
              <a:off x="3486151" y="3657599"/>
              <a:ext cx="342900" cy="131930"/>
            </a:xfrm>
            <a:prstGeom prst="rightArrow">
              <a:avLst/>
            </a:prstGeom>
            <a:solidFill>
              <a:srgbClr val="FFFFFF">
                <a:lumMod val="65000"/>
              </a:srgbClr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lèche droite 12"/>
            <p:cNvSpPr/>
            <p:nvPr/>
          </p:nvSpPr>
          <p:spPr>
            <a:xfrm>
              <a:off x="2038351" y="3657600"/>
              <a:ext cx="342900" cy="131930"/>
            </a:xfrm>
            <a:prstGeom prst="rightArrow">
              <a:avLst/>
            </a:prstGeom>
            <a:solidFill>
              <a:srgbClr val="FFFFFF"/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4" name="Groupe 13"/>
            <p:cNvGrpSpPr/>
            <p:nvPr/>
          </p:nvGrpSpPr>
          <p:grpSpPr>
            <a:xfrm>
              <a:off x="5105401" y="3352799"/>
              <a:ext cx="838200" cy="838201"/>
              <a:chOff x="2209800" y="3352799"/>
              <a:chExt cx="838200" cy="838201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2209800" y="33527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2362200" y="35051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2514600" y="36575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667000" y="38099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2819400" y="3962399"/>
                <a:ext cx="228600" cy="228601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5" name="Flèche droite 14"/>
            <p:cNvSpPr/>
            <p:nvPr/>
          </p:nvSpPr>
          <p:spPr>
            <a:xfrm>
              <a:off x="6076951" y="3657599"/>
              <a:ext cx="342900" cy="131930"/>
            </a:xfrm>
            <a:prstGeom prst="rightArrow">
              <a:avLst/>
            </a:prstGeom>
            <a:solidFill>
              <a:srgbClr val="00285B"/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lèche droite 15"/>
            <p:cNvSpPr/>
            <p:nvPr/>
          </p:nvSpPr>
          <p:spPr>
            <a:xfrm>
              <a:off x="4629151" y="3657600"/>
              <a:ext cx="342900" cy="131930"/>
            </a:xfrm>
            <a:prstGeom prst="rightArrow">
              <a:avLst/>
            </a:prstGeom>
            <a:solidFill>
              <a:srgbClr val="FFFFFF">
                <a:lumMod val="65000"/>
              </a:srgbClr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5" name="ZoneTexte 44"/>
          <p:cNvSpPr txBox="1"/>
          <p:nvPr/>
        </p:nvSpPr>
        <p:spPr>
          <a:xfrm>
            <a:off x="5031983" y="2106000"/>
            <a:ext cx="6832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gress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5995332" y="210600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&amp;D teams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6679529" y="2106000"/>
            <a:ext cx="7120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gress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II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8403092" y="2106000"/>
            <a:ext cx="7409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gress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III</a:t>
            </a:r>
          </a:p>
        </p:txBody>
      </p:sp>
      <p:sp>
        <p:nvSpPr>
          <p:cNvPr id="49" name="ZoneTexte 48"/>
          <p:cNvSpPr txBox="1"/>
          <p:nvPr/>
        </p:nvSpPr>
        <p:spPr>
          <a:xfrm>
            <a:off x="7595532" y="2106000"/>
            <a:ext cx="710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&amp;D teams</a:t>
            </a:r>
          </a:p>
        </p:txBody>
      </p:sp>
      <p:sp>
        <p:nvSpPr>
          <p:cNvPr id="50" name="Rectangle à coins arrondis 49"/>
          <p:cNvSpPr/>
          <p:nvPr/>
        </p:nvSpPr>
        <p:spPr>
          <a:xfrm>
            <a:off x="595408" y="1246045"/>
            <a:ext cx="2007466" cy="931961"/>
          </a:xfrm>
          <a:prstGeom prst="roundRect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ntum </a:t>
            </a:r>
            <a:r>
              <a:rPr kumimoji="0" lang="fr-FR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alth</a:t>
            </a: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ference Boar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ctor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apeut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tioner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r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User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resentative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1" name="Connecteur droit 50"/>
          <p:cNvCxnSpPr/>
          <p:nvPr/>
        </p:nvCxnSpPr>
        <p:spPr>
          <a:xfrm>
            <a:off x="2286000" y="2732544"/>
            <a:ext cx="0" cy="388620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52" name="Connecteur droit 51"/>
          <p:cNvCxnSpPr/>
          <p:nvPr/>
        </p:nvCxnSpPr>
        <p:spPr>
          <a:xfrm>
            <a:off x="6324600" y="2732544"/>
            <a:ext cx="0" cy="388620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53" name="Connecteur droit 52"/>
          <p:cNvCxnSpPr/>
          <p:nvPr/>
        </p:nvCxnSpPr>
        <p:spPr>
          <a:xfrm>
            <a:off x="457200" y="1066800"/>
            <a:ext cx="8085389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54" name="Triangle isocèle 53"/>
          <p:cNvSpPr/>
          <p:nvPr/>
        </p:nvSpPr>
        <p:spPr>
          <a:xfrm>
            <a:off x="730993" y="3113544"/>
            <a:ext cx="637072" cy="538494"/>
          </a:xfrm>
          <a:prstGeom prst="triangle">
            <a:avLst/>
          </a:prstGeom>
          <a:solidFill>
            <a:srgbClr val="99FF66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ZoneTexte 54"/>
          <p:cNvSpPr txBox="1"/>
          <p:nvPr/>
        </p:nvSpPr>
        <p:spPr>
          <a:xfrm>
            <a:off x="1239386" y="3166999"/>
            <a:ext cx="7136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ctors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580370" y="3669950"/>
            <a:ext cx="9605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rapeuts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7" name="ZoneTexte 56"/>
          <p:cNvSpPr txBox="1"/>
          <p:nvPr/>
        </p:nvSpPr>
        <p:spPr>
          <a:xfrm>
            <a:off x="252783" y="3166999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sers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103449" y="4027944"/>
            <a:ext cx="206785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ertified</a:t>
            </a: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&amp; Open Training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r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ealth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ser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rapeut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ramedical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Staff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ew/Future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ctor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isting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ctor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cluding</a:t>
            </a:r>
            <a:endParaRPr kumimoji="0" lang="fr-F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duct/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raining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siness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deling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for future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actitioners</a:t>
            </a: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gram design &amp;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livery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alidation of programs &amp;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chool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institute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2819400" y="3147287"/>
            <a:ext cx="381000" cy="276999"/>
          </a:xfrm>
          <a:prstGeom prst="rect">
            <a:avLst/>
          </a:prstGeom>
          <a:solidFill>
            <a:srgbClr val="99FF66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Rectangle 59"/>
          <p:cNvSpPr>
            <a:spLocks noChangeAspect="1"/>
          </p:cNvSpPr>
          <p:nvPr/>
        </p:nvSpPr>
        <p:spPr>
          <a:xfrm>
            <a:off x="2819400" y="3580010"/>
            <a:ext cx="506730" cy="368409"/>
          </a:xfrm>
          <a:prstGeom prst="rect">
            <a:avLst/>
          </a:prstGeom>
          <a:solidFill>
            <a:srgbClr val="99FF66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61" name="Rectangle 60"/>
          <p:cNvSpPr>
            <a:spLocks noChangeAspect="1"/>
          </p:cNvSpPr>
          <p:nvPr/>
        </p:nvSpPr>
        <p:spPr>
          <a:xfrm>
            <a:off x="2819387" y="4104144"/>
            <a:ext cx="632458" cy="459818"/>
          </a:xfrm>
          <a:prstGeom prst="rect">
            <a:avLst/>
          </a:prstGeom>
          <a:solidFill>
            <a:srgbClr val="99FF66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62" name="Rectangle 61"/>
          <p:cNvSpPr>
            <a:spLocks noChangeAspect="1"/>
          </p:cNvSpPr>
          <p:nvPr/>
        </p:nvSpPr>
        <p:spPr>
          <a:xfrm>
            <a:off x="2819387" y="2808744"/>
            <a:ext cx="251460" cy="182819"/>
          </a:xfrm>
          <a:prstGeom prst="rect">
            <a:avLst/>
          </a:prstGeom>
          <a:solidFill>
            <a:srgbClr val="99FF66"/>
          </a:solidFill>
          <a:ln w="3175" cap="flat" cmpd="sng" algn="ctr">
            <a:solidFill>
              <a:srgbClr val="000000"/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2304239" y="4710529"/>
            <a:ext cx="4055919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. </a:t>
            </a:r>
            <a:r>
              <a:rPr kumimoji="0" lang="fr-FR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and-</a:t>
            </a:r>
            <a:r>
              <a:rPr kumimoji="0" lang="fr-FR" sz="1200" b="0" i="0" u="sng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lone</a:t>
            </a:r>
            <a:endParaRPr kumimoji="0" lang="fr-FR" sz="1200" b="0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ny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size, standard or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scale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rchitecture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. </a:t>
            </a:r>
            <a:r>
              <a:rPr kumimoji="0" lang="fr-FR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tegrate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uxury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ealth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sort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Sports Parks,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me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all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Villages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</a:t>
            </a:r>
            <a:r>
              <a:rPr kumimoji="0" lang="fr-FR" sz="1200" b="0" i="0" u="sng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stomized</a:t>
            </a:r>
            <a:endParaRPr kumimoji="0" lang="fr-FR" sz="1200" b="0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il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Gaz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latform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pecific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reatment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evention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enter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</a:t>
            </a:r>
            <a:r>
              <a:rPr kumimoji="0" lang="fr-FR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bile Operation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dividual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reatment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for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althy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milie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Field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mpaigns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3945193" y="3032879"/>
            <a:ext cx="2074607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edical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evention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&amp;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rapy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Quantum </a:t>
            </a:r>
            <a:r>
              <a:rPr kumimoji="0" lang="fr-FR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reat</a:t>
            </a: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Center</a:t>
            </a:r>
          </a:p>
        </p:txBody>
      </p:sp>
      <p:sp>
        <p:nvSpPr>
          <p:cNvPr id="65" name="ZoneTexte 64"/>
          <p:cNvSpPr txBox="1"/>
          <p:nvPr/>
        </p:nvSpPr>
        <p:spPr>
          <a:xfrm>
            <a:off x="3945193" y="3558584"/>
            <a:ext cx="17732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eauty &amp;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ll-Being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Quantum Care Center</a:t>
            </a:r>
          </a:p>
        </p:txBody>
      </p:sp>
      <p:sp>
        <p:nvSpPr>
          <p:cNvPr id="66" name="ZoneTexte 65"/>
          <p:cNvSpPr txBox="1"/>
          <p:nvPr/>
        </p:nvSpPr>
        <p:spPr>
          <a:xfrm>
            <a:off x="3945193" y="4099679"/>
            <a:ext cx="19255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erformance &amp; Dynamic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Quantum Power Center</a:t>
            </a:r>
          </a:p>
        </p:txBody>
      </p:sp>
      <p:sp>
        <p:nvSpPr>
          <p:cNvPr id="67" name="ZoneTexte 66"/>
          <p:cNvSpPr txBox="1"/>
          <p:nvPr/>
        </p:nvSpPr>
        <p:spPr>
          <a:xfrm>
            <a:off x="4239687" y="2643876"/>
            <a:ext cx="1170513" cy="307777"/>
          </a:xfrm>
          <a:prstGeom prst="rect">
            <a:avLst/>
          </a:prstGeom>
          <a:solidFill>
            <a:srgbClr val="66FF66"/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QH </a:t>
            </a:r>
            <a:r>
              <a:rPr kumimoji="0" lang="fr-FR" sz="1400" b="1" i="0" u="sng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enters</a:t>
            </a:r>
            <a:endParaRPr kumimoji="0" lang="fr-FR" sz="1400" b="1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8" name="ZoneTexte 67"/>
          <p:cNvSpPr txBox="1"/>
          <p:nvPr/>
        </p:nvSpPr>
        <p:spPr>
          <a:xfrm>
            <a:off x="535113" y="2643876"/>
            <a:ext cx="1293687" cy="307777"/>
          </a:xfrm>
          <a:prstGeom prst="rect">
            <a:avLst/>
          </a:prstGeom>
          <a:solidFill>
            <a:srgbClr val="66FF66"/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QH </a:t>
            </a:r>
            <a:r>
              <a:rPr kumimoji="0" lang="fr-FR" sz="1400" b="1" i="0" u="sng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ademy</a:t>
            </a:r>
            <a:endParaRPr kumimoji="0" lang="fr-FR" sz="1400" b="1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9" name="ZoneTexte 68"/>
          <p:cNvSpPr txBox="1"/>
          <p:nvPr/>
        </p:nvSpPr>
        <p:spPr>
          <a:xfrm>
            <a:off x="7239000" y="2643876"/>
            <a:ext cx="1197764" cy="307777"/>
          </a:xfrm>
          <a:prstGeom prst="rect">
            <a:avLst/>
          </a:prstGeom>
          <a:solidFill>
            <a:srgbClr val="66FF66"/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QH Institute</a:t>
            </a:r>
          </a:p>
        </p:txBody>
      </p:sp>
      <p:sp>
        <p:nvSpPr>
          <p:cNvPr id="70" name="ZoneTexte 69"/>
          <p:cNvSpPr txBox="1"/>
          <p:nvPr/>
        </p:nvSpPr>
        <p:spPr>
          <a:xfrm>
            <a:off x="6398326" y="4991455"/>
            <a:ext cx="2613021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ourcing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&amp;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election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of Technologies &amp; Equipment,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duct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&amp; Services in the QM Reference System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sting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nd validation by a team of QH Experts &amp;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ctor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stribution to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ealth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fessionnal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nd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ealth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ser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se of the QH Distribution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latform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nd/or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gional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rtner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1" name="Ellipse 70"/>
          <p:cNvSpPr/>
          <p:nvPr/>
        </p:nvSpPr>
        <p:spPr>
          <a:xfrm>
            <a:off x="152400" y="1583807"/>
            <a:ext cx="304800" cy="304800"/>
          </a:xfrm>
          <a:prstGeom prst="ellipse">
            <a:avLst/>
          </a:prstGeom>
          <a:solidFill>
            <a:srgbClr val="FFC000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72" name="Ellipse 71"/>
          <p:cNvSpPr/>
          <p:nvPr/>
        </p:nvSpPr>
        <p:spPr>
          <a:xfrm>
            <a:off x="152400" y="2643876"/>
            <a:ext cx="304800" cy="304800"/>
          </a:xfrm>
          <a:prstGeom prst="ellipse">
            <a:avLst/>
          </a:prstGeom>
          <a:solidFill>
            <a:srgbClr val="FFC000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73" name="Ellipse 72"/>
          <p:cNvSpPr/>
          <p:nvPr/>
        </p:nvSpPr>
        <p:spPr>
          <a:xfrm>
            <a:off x="3871599" y="2643876"/>
            <a:ext cx="304800" cy="304800"/>
          </a:xfrm>
          <a:prstGeom prst="ellipse">
            <a:avLst/>
          </a:prstGeom>
          <a:solidFill>
            <a:srgbClr val="FFC000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74" name="Ellipse 73"/>
          <p:cNvSpPr/>
          <p:nvPr/>
        </p:nvSpPr>
        <p:spPr>
          <a:xfrm>
            <a:off x="6851772" y="2643876"/>
            <a:ext cx="304800" cy="304800"/>
          </a:xfrm>
          <a:prstGeom prst="ellipse">
            <a:avLst/>
          </a:prstGeom>
          <a:solidFill>
            <a:srgbClr val="FFC000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75" name="ZoneTexte 74"/>
          <p:cNvSpPr txBox="1"/>
          <p:nvPr/>
        </p:nvSpPr>
        <p:spPr>
          <a:xfrm>
            <a:off x="2723646" y="1875980"/>
            <a:ext cx="2153154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ordination of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search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gresses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&amp; </a:t>
            </a:r>
            <a:r>
              <a:rPr kumimoji="0" lang="fr-FR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ferences</a:t>
            </a:r>
            <a:endParaRPr kumimoji="0" lang="fr-F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ublications</a:t>
            </a:r>
          </a:p>
        </p:txBody>
      </p:sp>
      <p:graphicFrame>
        <p:nvGraphicFramePr>
          <p:cNvPr id="76" name="Tableau 75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931316505"/>
              </p:ext>
            </p:extLst>
          </p:nvPr>
        </p:nvGraphicFramePr>
        <p:xfrm>
          <a:off x="6413953" y="3024876"/>
          <a:ext cx="2666999" cy="1963085"/>
        </p:xfrm>
        <a:graphic>
          <a:graphicData uri="http://schemas.openxmlformats.org/drawingml/2006/table">
            <a:tbl>
              <a:tblPr firstRow="1" bandRow="1"/>
              <a:tblGrid>
                <a:gridCol w="6000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67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00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6558"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500" dirty="0" err="1">
                          <a:solidFill>
                            <a:schemeClr val="tx1"/>
                          </a:solidFill>
                        </a:rPr>
                        <a:t>Root</a:t>
                      </a:r>
                      <a:r>
                        <a:rPr lang="fr-FR" sz="500" dirty="0">
                          <a:solidFill>
                            <a:schemeClr val="tx1"/>
                          </a:solidFill>
                        </a:rPr>
                        <a:t>-Cause</a:t>
                      </a:r>
                    </a:p>
                    <a:p>
                      <a:pPr algn="ctr"/>
                      <a:r>
                        <a:rPr lang="fr-FR" sz="500" dirty="0">
                          <a:solidFill>
                            <a:schemeClr val="tx1"/>
                          </a:solidFill>
                        </a:rPr>
                        <a:t>Diagnostics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500" dirty="0" err="1">
                          <a:solidFill>
                            <a:schemeClr val="tx1"/>
                          </a:solidFill>
                        </a:rPr>
                        <a:t>Nutri-Therapies</a:t>
                      </a:r>
                      <a:endParaRPr lang="fr-FR" sz="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500" dirty="0">
                          <a:solidFill>
                            <a:schemeClr val="tx1"/>
                          </a:solidFill>
                        </a:rPr>
                        <a:t>Dynamo-</a:t>
                      </a:r>
                    </a:p>
                    <a:p>
                      <a:pPr algn="ctr"/>
                      <a:r>
                        <a:rPr lang="fr-FR" sz="500" dirty="0" err="1">
                          <a:solidFill>
                            <a:schemeClr val="tx1"/>
                          </a:solidFill>
                        </a:rPr>
                        <a:t>Therapies</a:t>
                      </a:r>
                      <a:endParaRPr lang="fr-FR" sz="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500" dirty="0" err="1">
                          <a:solidFill>
                            <a:schemeClr val="tx1"/>
                          </a:solidFill>
                        </a:rPr>
                        <a:t>Osmo</a:t>
                      </a:r>
                      <a:r>
                        <a:rPr lang="fr-FR" sz="50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  <a:p>
                      <a:pPr algn="ctr"/>
                      <a:r>
                        <a:rPr lang="fr-FR" sz="500" dirty="0" err="1">
                          <a:solidFill>
                            <a:schemeClr val="tx1"/>
                          </a:solidFill>
                        </a:rPr>
                        <a:t>Therapies</a:t>
                      </a:r>
                      <a:endParaRPr lang="fr-FR" sz="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500" dirty="0" err="1">
                          <a:solidFill>
                            <a:schemeClr val="tx1"/>
                          </a:solidFill>
                        </a:rPr>
                        <a:t>Relatio</a:t>
                      </a:r>
                      <a:r>
                        <a:rPr lang="fr-FR" sz="50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  <a:p>
                      <a:pPr algn="ctr"/>
                      <a:r>
                        <a:rPr lang="fr-FR" sz="500" dirty="0" err="1">
                          <a:solidFill>
                            <a:schemeClr val="tx1"/>
                          </a:solidFill>
                        </a:rPr>
                        <a:t>Therapies</a:t>
                      </a:r>
                      <a:endParaRPr lang="fr-FR" sz="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61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Genetics</a:t>
                      </a:r>
                      <a:r>
                        <a:rPr lang="fr-FR" sz="400" dirty="0"/>
                        <a:t>/</a:t>
                      </a:r>
                    </a:p>
                    <a:p>
                      <a:pPr algn="ctr"/>
                      <a:r>
                        <a:rPr lang="fr-FR" sz="400" dirty="0" err="1"/>
                        <a:t>Epigenetic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Oligo</a:t>
                      </a:r>
                      <a:r>
                        <a:rPr lang="fr-FR" sz="400" dirty="0"/>
                        <a:t>/Litho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Massage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Balneo</a:t>
                      </a:r>
                      <a:r>
                        <a:rPr lang="fr-FR" sz="400" dirty="0"/>
                        <a:t>/</a:t>
                      </a:r>
                      <a:r>
                        <a:rPr lang="fr-FR" sz="400" dirty="0" err="1"/>
                        <a:t>Fango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Sophrolog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61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Mineralomic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Phyto/</a:t>
                      </a:r>
                      <a:r>
                        <a:rPr lang="fr-FR" sz="400" dirty="0" err="1"/>
                        <a:t>Gemmo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Osteopath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Creno</a:t>
                      </a:r>
                      <a:r>
                        <a:rPr lang="fr-FR" sz="400" dirty="0"/>
                        <a:t>/Thalasso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Meditation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Proteomic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Aroma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Odontolog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Olfacto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Relaxation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Physiomics</a:t>
                      </a:r>
                      <a:r>
                        <a:rPr lang="fr-FR" sz="400" dirty="0"/>
                        <a:t>/Scan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Vitamino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Chiropractic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Homeopath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Aromacolog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61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Pulsology</a:t>
                      </a:r>
                      <a:r>
                        <a:rPr lang="fr-FR" sz="400" dirty="0"/>
                        <a:t>/</a:t>
                      </a:r>
                    </a:p>
                    <a:p>
                      <a:pPr algn="ctr"/>
                      <a:r>
                        <a:rPr lang="fr-FR" sz="400" dirty="0" err="1"/>
                        <a:t>Cardiometr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Diet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Reflexo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Bioresonance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Positive Psychology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8361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Medical</a:t>
                      </a:r>
                      <a:r>
                        <a:rPr lang="fr-FR" sz="400" dirty="0"/>
                        <a:t> Imaging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Food </a:t>
                      </a:r>
                      <a:r>
                        <a:rPr lang="fr-FR" sz="400" dirty="0" err="1"/>
                        <a:t>regime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Kinesiolog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Ionization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Phosphenism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8361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Reflexolog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Fasting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Electro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Ozono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Bioenerg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8361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Bioelectronic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Phago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Magneto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Actino</a:t>
                      </a:r>
                      <a:r>
                        <a:rPr lang="fr-FR" sz="400" dirty="0"/>
                        <a:t>/Chromo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Ar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2555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Thesigraphy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Biotics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Exo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 err="1"/>
                        <a:t>Milta</a:t>
                      </a:r>
                      <a:r>
                        <a:rPr lang="fr-FR" sz="400" dirty="0"/>
                        <a:t>/Quantum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400" dirty="0"/>
                        <a:t>Method </a:t>
                      </a:r>
                      <a:r>
                        <a:rPr lang="fr-FR" sz="400" dirty="0" err="1"/>
                        <a:t>Vittoz</a:t>
                      </a:r>
                      <a:endParaRPr lang="fr-FR" sz="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fr-FR" sz="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ypage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fr-FR" sz="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agyrie</a:t>
                      </a:r>
                      <a:endParaRPr lang="fr-FR" sz="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fr-FR" sz="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upunctur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fr-FR" sz="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istallo</a:t>
                      </a:r>
                      <a:endParaRPr lang="fr-FR" sz="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fr-FR" sz="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stal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cxnSp>
        <p:nvCxnSpPr>
          <p:cNvPr id="77" name="Connecteur droit 76"/>
          <p:cNvCxnSpPr/>
          <p:nvPr/>
        </p:nvCxnSpPr>
        <p:spPr>
          <a:xfrm>
            <a:off x="457200" y="2476144"/>
            <a:ext cx="8085389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545780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agine once more ….</a:t>
            </a:r>
            <a:b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t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uld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ble to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p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ld’s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ggest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ool of know how in regards to global </a:t>
            </a:r>
            <a:r>
              <a:rPr lang="fr-FR" sz="28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sues</a:t>
            </a:r>
            <a:endParaRPr lang="fr-FR" sz="4000" cap="non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403920"/>
            <a:ext cx="1100873" cy="52139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ime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e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where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ural</a:t>
            </a:r>
            <a:r>
              <a:rPr lang="fr-FR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non-intrusive ….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5004048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www.quantum-healthcare.com</a:t>
            </a:r>
          </a:p>
        </p:txBody>
      </p:sp>
      <p:pic>
        <p:nvPicPr>
          <p:cNvPr id="6" name="Picture 3" descr="Images intégrées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685" y="241998"/>
            <a:ext cx="582803" cy="582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41935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fr-FR" sz="36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 </a:t>
            </a:r>
            <a:r>
              <a:rPr lang="fr-FR" sz="36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36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3600" cap="none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ant</a:t>
            </a:r>
            <a:r>
              <a:rPr lang="fr-FR" sz="36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o ….</a:t>
            </a:r>
            <a:br>
              <a:rPr lang="fr-FR" sz="4000" cap="non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b="1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Z</a:t>
            </a:r>
            <a:b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fr-FR" sz="28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3600" cap="none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3600" cap="non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s ?</a:t>
            </a:r>
            <a:endParaRPr lang="fr-FR" sz="4000" cap="non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403920"/>
            <a:ext cx="1100873" cy="52139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5004048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www.quantum-healthcare.com</a:t>
            </a:r>
          </a:p>
        </p:txBody>
      </p:sp>
      <p:pic>
        <p:nvPicPr>
          <p:cNvPr id="7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1695450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part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2257" y="1695450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part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123" y="3611115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part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080" y="3675299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 descr="part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961013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496" y="3398912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2365" y="520212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182" y="4475398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29" y="533400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4641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fr-FR" sz="4800" b="1" dirty="0">
                <a:solidFill>
                  <a:schemeClr val="bg1"/>
                </a:solidFill>
                <a:effectLst/>
              </a:rPr>
              <a:t>QUANTUM HEALTH</a:t>
            </a:r>
            <a:br>
              <a:rPr lang="fr-FR" sz="4800" b="1" dirty="0">
                <a:solidFill>
                  <a:schemeClr val="bg1"/>
                </a:solidFill>
                <a:effectLst/>
              </a:rPr>
            </a:br>
            <a:r>
              <a:rPr lang="fr-FR" sz="4800" b="1" dirty="0">
                <a:solidFill>
                  <a:schemeClr val="bg1"/>
                </a:solidFill>
                <a:effectLst/>
              </a:rPr>
              <a:t>Initiative</a:t>
            </a:r>
          </a:p>
        </p:txBody>
      </p:sp>
      <p:sp>
        <p:nvSpPr>
          <p:cNvPr id="5123" name="Sous-titre 2"/>
          <p:cNvSpPr>
            <a:spLocks noGrp="1"/>
          </p:cNvSpPr>
          <p:nvPr>
            <p:ph type="subTitle" idx="1"/>
          </p:nvPr>
        </p:nvSpPr>
        <p:spPr>
          <a:xfrm>
            <a:off x="755576" y="2420888"/>
            <a:ext cx="5478760" cy="1913466"/>
          </a:xfrm>
        </p:spPr>
        <p:txBody>
          <a:bodyPr anchor="ctr"/>
          <a:lstStyle/>
          <a:p>
            <a:pPr marR="0" algn="ctr"/>
            <a:endParaRPr lang="fr-FR" altLang="fr-FR" sz="3200" b="1" dirty="0">
              <a:solidFill>
                <a:schemeClr val="bg1"/>
              </a:solidFill>
            </a:endParaRPr>
          </a:p>
          <a:p>
            <a:pPr marR="0" algn="ctr"/>
            <a:r>
              <a:rPr lang="fr-FR" altLang="fr-FR" sz="2800" b="1" dirty="0" err="1">
                <a:solidFill>
                  <a:schemeClr val="bg1"/>
                </a:solidFill>
              </a:rPr>
              <a:t>Become</a:t>
            </a:r>
            <a:r>
              <a:rPr lang="fr-FR" altLang="fr-FR" sz="2800" b="1" dirty="0">
                <a:solidFill>
                  <a:schemeClr val="bg1"/>
                </a:solidFill>
              </a:rPr>
              <a:t> Actor of </a:t>
            </a:r>
            <a:r>
              <a:rPr lang="fr-FR" altLang="fr-FR" sz="2800" b="1" dirty="0" err="1">
                <a:solidFill>
                  <a:schemeClr val="bg1"/>
                </a:solidFill>
              </a:rPr>
              <a:t>your</a:t>
            </a:r>
            <a:r>
              <a:rPr lang="fr-FR" altLang="fr-FR" sz="2800" b="1" dirty="0">
                <a:solidFill>
                  <a:schemeClr val="bg1"/>
                </a:solidFill>
              </a:rPr>
              <a:t> </a:t>
            </a:r>
            <a:r>
              <a:rPr lang="fr-FR" altLang="fr-FR" sz="2800" b="1" dirty="0" err="1">
                <a:solidFill>
                  <a:schemeClr val="bg1"/>
                </a:solidFill>
              </a:rPr>
              <a:t>Health</a:t>
            </a:r>
            <a:endParaRPr lang="fr-FR" altLang="fr-FR" sz="2800" b="1" dirty="0">
              <a:solidFill>
                <a:schemeClr val="bg1"/>
              </a:solidFill>
            </a:endParaRPr>
          </a:p>
        </p:txBody>
      </p:sp>
      <p:pic>
        <p:nvPicPr>
          <p:cNvPr id="5" name="Imag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403920"/>
            <a:ext cx="1100873" cy="52139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ZoneTexte 5"/>
          <p:cNvSpPr txBox="1"/>
          <p:nvPr/>
        </p:nvSpPr>
        <p:spPr>
          <a:xfrm>
            <a:off x="5004048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www.quantum-healthcare.com</a:t>
            </a:r>
          </a:p>
        </p:txBody>
      </p:sp>
      <p:pic>
        <p:nvPicPr>
          <p:cNvPr id="7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801" y="4519830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14217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hat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s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ur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cipe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?</a:t>
            </a:r>
          </a:p>
          <a:p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iz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and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izers</a:t>
            </a:r>
            <a:endParaRPr lang="fr-FR" sz="240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68059" y="1350123"/>
            <a:ext cx="893587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If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ew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ew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… </a:t>
            </a:r>
            <a:r>
              <a:rPr lang="fr-FR" sz="2000" b="1" u="sng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 the power of the Community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I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ve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isticall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s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read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een 	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enc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y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ndred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ousand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ople –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ros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world. 		AND SO HAVE THE SOLUTIONS TO YOUR PROBLEM</a:t>
            </a:r>
          </a:p>
          <a:p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ke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trol and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ke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al …. </a:t>
            </a:r>
            <a:r>
              <a:rPr lang="fr-FR" sz="2000" b="1" u="sng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b="1" u="sng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u="sng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</a:t>
            </a:r>
            <a:r>
              <a:rPr lang="fr-FR" sz="2000" b="1" u="sng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u="sng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</a:t>
            </a:r>
            <a:r>
              <a:rPr lang="fr-FR" sz="2000" b="1" u="sng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u="sng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iven</a:t>
            </a:r>
            <a:r>
              <a:rPr lang="fr-FR" sz="2000" b="1" u="sng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y </a:t>
            </a:r>
            <a:r>
              <a:rPr lang="fr-FR" sz="2000" b="1" u="sng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s</a:t>
            </a:r>
            <a:endParaRPr lang="fr-FR" sz="2000" b="1" u="sng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r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ponsibl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not th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to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ilit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s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	relevant information via Internet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com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v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or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	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xperts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stl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coaches to help us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hiev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s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AutoNum type="arabicPeriod"/>
            </a:pP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 </a:t>
            </a:r>
            <a:r>
              <a:rPr lang="fr-FR" sz="2000" b="1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20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global trends …… </a:t>
            </a:r>
            <a:r>
              <a:rPr lang="fr-FR" sz="2000" b="1" u="sng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 new and « clean » technologies »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morrow’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stainabl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if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a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		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o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uses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for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ut of hand. Us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ura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non –invasiv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sur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ventio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lnes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long-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m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nomy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9610" y="4992673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05590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hat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do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e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do ?</a:t>
            </a: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imple and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ractical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– solutions for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veryday’s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User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roblems</a:t>
            </a:r>
            <a:endParaRPr lang="fr-FR" sz="240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8350" y="1700808"/>
            <a:ext cx="889529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gmatic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effective solutions to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one’s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s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NOW and in the FUTURE</a:t>
            </a:r>
          </a:p>
          <a:p>
            <a:endParaRPr lang="fr-F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ild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N°1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ser Community to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ow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irect exchange of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owledge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expertise 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FAST and USER-</a:t>
            </a: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riven</a:t>
            </a:r>
            <a:endParaRPr lang="fr-FR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fr-F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uable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ment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fessional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ors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to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rete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eld</a:t>
            </a:r>
            <a:r>
              <a:rPr lang="fr-FR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sues and effective solutions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 a USER perspective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547" y="5005164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40545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How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oes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t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ork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?</a:t>
            </a: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Global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izer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Community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547" y="5005164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e 18"/>
          <p:cNvGrpSpPr/>
          <p:nvPr/>
        </p:nvGrpSpPr>
        <p:grpSpPr>
          <a:xfrm>
            <a:off x="179512" y="1899519"/>
            <a:ext cx="2664296" cy="3125128"/>
            <a:chOff x="179512" y="1772816"/>
            <a:chExt cx="2664296" cy="3125128"/>
          </a:xfrm>
        </p:grpSpPr>
        <p:sp>
          <p:nvSpPr>
            <p:cNvPr id="2" name="Rectangle 1"/>
            <p:cNvSpPr/>
            <p:nvPr/>
          </p:nvSpPr>
          <p:spPr>
            <a:xfrm>
              <a:off x="179512" y="1772816"/>
              <a:ext cx="2664296" cy="3125128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251520" y="1862822"/>
              <a:ext cx="2520280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dirty="0" err="1">
                  <a:solidFill>
                    <a:schemeClr val="bg1"/>
                  </a:solidFill>
                </a:rPr>
                <a:t>Describe</a:t>
              </a:r>
              <a:r>
                <a:rPr lang="fr-FR" dirty="0">
                  <a:solidFill>
                    <a:schemeClr val="bg1"/>
                  </a:solidFill>
                </a:rPr>
                <a:t> </a:t>
              </a:r>
              <a:r>
                <a:rPr lang="fr-FR" b="1" dirty="0">
                  <a:solidFill>
                    <a:schemeClr val="bg1"/>
                  </a:solidFill>
                </a:rPr>
                <a:t>the </a:t>
              </a:r>
              <a:r>
                <a:rPr lang="fr-FR" b="1" dirty="0" err="1">
                  <a:solidFill>
                    <a:schemeClr val="bg1"/>
                  </a:solidFill>
                </a:rPr>
                <a:t>health</a:t>
              </a:r>
              <a:r>
                <a:rPr lang="fr-FR" b="1" dirty="0">
                  <a:solidFill>
                    <a:schemeClr val="bg1"/>
                  </a:solidFill>
                </a:rPr>
                <a:t> issue or </a:t>
              </a:r>
              <a:r>
                <a:rPr lang="fr-FR" b="1" dirty="0" err="1">
                  <a:solidFill>
                    <a:schemeClr val="bg1"/>
                  </a:solidFill>
                </a:rPr>
                <a:t>target</a:t>
              </a:r>
              <a:r>
                <a:rPr lang="fr-FR" b="1" dirty="0">
                  <a:solidFill>
                    <a:schemeClr val="bg1"/>
                  </a:solidFill>
                </a:rPr>
                <a:t> </a:t>
              </a:r>
              <a:r>
                <a:rPr lang="fr-FR" dirty="0">
                  <a:solidFill>
                    <a:schemeClr val="bg1"/>
                  </a:solidFill>
                </a:rPr>
                <a:t>– post a </a:t>
              </a:r>
              <a:r>
                <a:rPr lang="fr-FR" b="1" dirty="0" err="1">
                  <a:solidFill>
                    <a:schemeClr val="bg1"/>
                  </a:solidFill>
                </a:rPr>
                <a:t>request</a:t>
              </a:r>
              <a:endParaRPr lang="fr-FR" b="1" dirty="0">
                <a:solidFill>
                  <a:schemeClr val="bg1"/>
                </a:solidFill>
              </a:endParaRPr>
            </a:p>
            <a:p>
              <a:pPr algn="ctr"/>
              <a:r>
                <a:rPr lang="fr-FR" dirty="0">
                  <a:solidFill>
                    <a:schemeClr val="bg1"/>
                  </a:solidFill>
                </a:rPr>
                <a:t>------------------------------------------------------------------------------------------------------------------------------------------------------------------------------------</a:t>
              </a:r>
            </a:p>
            <a:p>
              <a:pPr algn="ctr"/>
              <a:r>
                <a:rPr lang="fr-FR" dirty="0">
                  <a:solidFill>
                    <a:schemeClr val="bg1"/>
                  </a:solidFill>
                </a:rPr>
                <a:t>------------------------------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179512" y="1325192"/>
            <a:ext cx="8280920" cy="44762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/>
          <p:cNvSpPr txBox="1"/>
          <p:nvPr/>
        </p:nvSpPr>
        <p:spPr>
          <a:xfrm>
            <a:off x="575461" y="1364338"/>
            <a:ext cx="7236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solidFill>
                  <a:schemeClr val="bg1"/>
                </a:solidFill>
              </a:rPr>
              <a:t>Register</a:t>
            </a:r>
            <a:r>
              <a:rPr lang="fr-FR" dirty="0">
                <a:solidFill>
                  <a:schemeClr val="bg1"/>
                </a:solidFill>
              </a:rPr>
              <a:t> as a </a:t>
            </a:r>
            <a:r>
              <a:rPr lang="fr-FR" b="1" dirty="0" err="1">
                <a:solidFill>
                  <a:schemeClr val="bg1"/>
                </a:solidFill>
              </a:rPr>
              <a:t>member</a:t>
            </a:r>
            <a:r>
              <a:rPr lang="fr-FR" b="1" dirty="0">
                <a:solidFill>
                  <a:schemeClr val="bg1"/>
                </a:solidFill>
              </a:rPr>
              <a:t> </a:t>
            </a:r>
            <a:r>
              <a:rPr lang="fr-FR" dirty="0">
                <a:solidFill>
                  <a:schemeClr val="bg1"/>
                </a:solidFill>
              </a:rPr>
              <a:t>of the </a:t>
            </a:r>
            <a:r>
              <a:rPr lang="fr-FR" dirty="0" err="1">
                <a:solidFill>
                  <a:schemeClr val="bg1"/>
                </a:solidFill>
              </a:rPr>
              <a:t>Tizer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community</a:t>
            </a:r>
            <a:r>
              <a:rPr lang="fr-FR" dirty="0">
                <a:solidFill>
                  <a:schemeClr val="bg1"/>
                </a:solidFill>
              </a:rPr>
              <a:t> (free of charge)</a:t>
            </a:r>
          </a:p>
        </p:txBody>
      </p:sp>
      <p:grpSp>
        <p:nvGrpSpPr>
          <p:cNvPr id="20" name="Groupe 19"/>
          <p:cNvGrpSpPr/>
          <p:nvPr/>
        </p:nvGrpSpPr>
        <p:grpSpPr>
          <a:xfrm>
            <a:off x="179512" y="5059487"/>
            <a:ext cx="2664296" cy="1592560"/>
            <a:chOff x="179512" y="4932784"/>
            <a:chExt cx="2664296" cy="1592560"/>
          </a:xfrm>
        </p:grpSpPr>
        <p:sp>
          <p:nvSpPr>
            <p:cNvPr id="9" name="Rectangle 8"/>
            <p:cNvSpPr/>
            <p:nvPr/>
          </p:nvSpPr>
          <p:spPr>
            <a:xfrm>
              <a:off x="179512" y="4932784"/>
              <a:ext cx="2664296" cy="1592560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ZoneTexte 11"/>
            <p:cNvSpPr txBox="1"/>
            <p:nvPr/>
          </p:nvSpPr>
          <p:spPr>
            <a:xfrm>
              <a:off x="251520" y="5013176"/>
              <a:ext cx="2520280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dirty="0" err="1">
                  <a:solidFill>
                    <a:schemeClr val="bg1"/>
                  </a:solidFill>
                </a:rPr>
                <a:t>View</a:t>
              </a:r>
              <a:r>
                <a:rPr lang="fr-FR" dirty="0">
                  <a:solidFill>
                    <a:schemeClr val="bg1"/>
                  </a:solidFill>
                </a:rPr>
                <a:t> of the </a:t>
              </a:r>
              <a:r>
                <a:rPr lang="fr-FR" b="1" dirty="0" err="1">
                  <a:solidFill>
                    <a:schemeClr val="bg1"/>
                  </a:solidFill>
                </a:rPr>
                <a:t>most</a:t>
              </a:r>
              <a:r>
                <a:rPr lang="fr-FR" b="1" dirty="0">
                  <a:solidFill>
                    <a:schemeClr val="bg1"/>
                  </a:solidFill>
                </a:rPr>
                <a:t> </a:t>
              </a:r>
              <a:r>
                <a:rPr lang="fr-FR" b="1" dirty="0" err="1">
                  <a:solidFill>
                    <a:schemeClr val="bg1"/>
                  </a:solidFill>
                </a:rPr>
                <a:t>frequent</a:t>
              </a:r>
              <a:r>
                <a:rPr lang="fr-FR" b="1" dirty="0">
                  <a:solidFill>
                    <a:schemeClr val="bg1"/>
                  </a:solidFill>
                </a:rPr>
                <a:t> user </a:t>
              </a:r>
              <a:r>
                <a:rPr lang="fr-FR" b="1" dirty="0" err="1">
                  <a:solidFill>
                    <a:schemeClr val="bg1"/>
                  </a:solidFill>
                </a:rPr>
                <a:t>health</a:t>
              </a:r>
              <a:r>
                <a:rPr lang="fr-FR" b="1" dirty="0">
                  <a:solidFill>
                    <a:schemeClr val="bg1"/>
                  </a:solidFill>
                </a:rPr>
                <a:t> </a:t>
              </a:r>
              <a:r>
                <a:rPr lang="fr-FR" b="1" dirty="0" err="1">
                  <a:solidFill>
                    <a:schemeClr val="bg1"/>
                  </a:solidFill>
                </a:rPr>
                <a:t>problems</a:t>
              </a:r>
              <a:endParaRPr lang="fr-FR" b="1" dirty="0">
                <a:solidFill>
                  <a:schemeClr val="bg1"/>
                </a:solidFill>
              </a:endParaRPr>
            </a:p>
            <a:p>
              <a:pPr algn="ctr"/>
              <a:r>
                <a:rPr lang="fr-FR" dirty="0">
                  <a:solidFill>
                    <a:schemeClr val="bg1"/>
                  </a:solidFill>
                </a:rPr>
                <a:t>- per </a:t>
              </a:r>
              <a:r>
                <a:rPr lang="fr-FR" dirty="0" err="1">
                  <a:solidFill>
                    <a:schemeClr val="bg1"/>
                  </a:solidFill>
                </a:rPr>
                <a:t>region</a:t>
              </a:r>
              <a:r>
                <a:rPr lang="fr-FR" dirty="0">
                  <a:solidFill>
                    <a:schemeClr val="bg1"/>
                  </a:solidFill>
                </a:rPr>
                <a:t> and type of user issue</a:t>
              </a: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4499992" y="1955898"/>
            <a:ext cx="3973056" cy="2374897"/>
            <a:chOff x="4499992" y="1829195"/>
            <a:chExt cx="3973056" cy="2374897"/>
          </a:xfrm>
        </p:grpSpPr>
        <p:sp>
          <p:nvSpPr>
            <p:cNvPr id="13" name="Rectangle 12"/>
            <p:cNvSpPr/>
            <p:nvPr/>
          </p:nvSpPr>
          <p:spPr>
            <a:xfrm>
              <a:off x="4499992" y="1831310"/>
              <a:ext cx="3960440" cy="2372782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553664" y="2940510"/>
              <a:ext cx="391938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b="1" u="sng" dirty="0">
                  <a:solidFill>
                    <a:schemeClr val="bg1"/>
                  </a:solidFill>
                </a:rPr>
                <a:t>Global </a:t>
              </a:r>
              <a:r>
                <a:rPr lang="fr-FR" b="1" u="sng" dirty="0" err="1">
                  <a:solidFill>
                    <a:schemeClr val="bg1"/>
                  </a:solidFill>
                </a:rPr>
                <a:t>Health</a:t>
              </a:r>
              <a:r>
                <a:rPr lang="fr-FR" b="1" u="sng" dirty="0">
                  <a:solidFill>
                    <a:schemeClr val="bg1"/>
                  </a:solidFill>
                </a:rPr>
                <a:t> Book </a:t>
              </a:r>
            </a:p>
            <a:p>
              <a:pPr algn="ctr"/>
              <a:r>
                <a:rPr lang="fr-FR" dirty="0">
                  <a:solidFill>
                    <a:schemeClr val="bg1"/>
                  </a:solidFill>
                </a:rPr>
                <a:t>the </a:t>
              </a:r>
              <a:r>
                <a:rPr lang="fr-FR" dirty="0" err="1">
                  <a:solidFill>
                    <a:schemeClr val="bg1"/>
                  </a:solidFill>
                </a:rPr>
                <a:t>universal</a:t>
              </a:r>
              <a:r>
                <a:rPr lang="fr-FR" dirty="0">
                  <a:solidFill>
                    <a:schemeClr val="bg1"/>
                  </a:solidFill>
                </a:rPr>
                <a:t> </a:t>
              </a:r>
              <a:r>
                <a:rPr lang="fr-FR" dirty="0" err="1">
                  <a:solidFill>
                    <a:schemeClr val="bg1"/>
                  </a:solidFill>
                </a:rPr>
                <a:t>library</a:t>
              </a:r>
              <a:r>
                <a:rPr lang="fr-FR" dirty="0">
                  <a:solidFill>
                    <a:schemeClr val="bg1"/>
                  </a:solidFill>
                </a:rPr>
                <a:t> of </a:t>
              </a:r>
              <a:r>
                <a:rPr lang="fr-FR" dirty="0" err="1">
                  <a:solidFill>
                    <a:schemeClr val="bg1"/>
                  </a:solidFill>
                </a:rPr>
                <a:t>health</a:t>
              </a:r>
              <a:r>
                <a:rPr lang="fr-FR" dirty="0">
                  <a:solidFill>
                    <a:schemeClr val="bg1"/>
                  </a:solidFill>
                </a:rPr>
                <a:t> solutions </a:t>
              </a:r>
              <a:r>
                <a:rPr lang="fr-FR" dirty="0" err="1">
                  <a:solidFill>
                    <a:schemeClr val="bg1"/>
                  </a:solidFill>
                </a:rPr>
                <a:t>from</a:t>
              </a:r>
              <a:r>
                <a:rPr lang="fr-FR" dirty="0">
                  <a:solidFill>
                    <a:schemeClr val="bg1"/>
                  </a:solidFill>
                </a:rPr>
                <a:t> a (</a:t>
              </a:r>
              <a:r>
                <a:rPr lang="fr-FR" dirty="0" err="1">
                  <a:solidFill>
                    <a:schemeClr val="bg1"/>
                  </a:solidFill>
                </a:rPr>
                <a:t>personal</a:t>
              </a:r>
              <a:r>
                <a:rPr lang="fr-FR" dirty="0">
                  <a:solidFill>
                    <a:schemeClr val="bg1"/>
                  </a:solidFill>
                </a:rPr>
                <a:t> or </a:t>
              </a:r>
              <a:r>
                <a:rPr lang="fr-FR" dirty="0" err="1">
                  <a:solidFill>
                    <a:schemeClr val="bg1"/>
                  </a:solidFill>
                </a:rPr>
                <a:t>professional</a:t>
              </a:r>
              <a:r>
                <a:rPr lang="fr-FR" dirty="0">
                  <a:solidFill>
                    <a:schemeClr val="bg1"/>
                  </a:solidFill>
                </a:rPr>
                <a:t>) user perspective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4553664" y="1829195"/>
              <a:ext cx="384737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dirty="0" err="1">
                  <a:solidFill>
                    <a:schemeClr val="bg1"/>
                  </a:solidFill>
                </a:rPr>
                <a:t>Describe</a:t>
              </a:r>
              <a:r>
                <a:rPr lang="fr-FR" dirty="0">
                  <a:solidFill>
                    <a:schemeClr val="bg1"/>
                  </a:solidFill>
                </a:rPr>
                <a:t> the </a:t>
              </a:r>
              <a:r>
                <a:rPr lang="fr-FR" b="1" dirty="0">
                  <a:solidFill>
                    <a:schemeClr val="bg1"/>
                  </a:solidFill>
                </a:rPr>
                <a:t>solution </a:t>
              </a:r>
              <a:r>
                <a:rPr lang="fr-FR" dirty="0">
                  <a:solidFill>
                    <a:schemeClr val="bg1"/>
                  </a:solidFill>
                </a:rPr>
                <a:t>for </a:t>
              </a:r>
              <a:r>
                <a:rPr lang="fr-FR" b="1" dirty="0">
                  <a:solidFill>
                    <a:schemeClr val="bg1"/>
                  </a:solidFill>
                </a:rPr>
                <a:t>a </a:t>
              </a:r>
              <a:r>
                <a:rPr lang="fr-FR" b="1" dirty="0" err="1">
                  <a:solidFill>
                    <a:schemeClr val="bg1"/>
                  </a:solidFill>
                </a:rPr>
                <a:t>health</a:t>
              </a:r>
              <a:r>
                <a:rPr lang="fr-FR" b="1" dirty="0">
                  <a:solidFill>
                    <a:schemeClr val="bg1"/>
                  </a:solidFill>
                </a:rPr>
                <a:t> issue or </a:t>
              </a:r>
              <a:r>
                <a:rPr lang="fr-FR" b="1" dirty="0" err="1">
                  <a:solidFill>
                    <a:schemeClr val="bg1"/>
                  </a:solidFill>
                </a:rPr>
                <a:t>target</a:t>
              </a:r>
              <a:r>
                <a:rPr lang="fr-FR" b="1" dirty="0">
                  <a:solidFill>
                    <a:schemeClr val="bg1"/>
                  </a:solidFill>
                </a:rPr>
                <a:t> </a:t>
              </a:r>
              <a:r>
                <a:rPr lang="fr-FR" dirty="0">
                  <a:solidFill>
                    <a:schemeClr val="bg1"/>
                  </a:solidFill>
                </a:rPr>
                <a:t>– post a </a:t>
              </a:r>
              <a:r>
                <a:rPr lang="fr-FR" b="1" dirty="0" err="1">
                  <a:solidFill>
                    <a:schemeClr val="bg1"/>
                  </a:solidFill>
                </a:rPr>
                <a:t>recipe</a:t>
              </a:r>
              <a:endParaRPr lang="fr-FR" b="1" dirty="0">
                <a:solidFill>
                  <a:schemeClr val="bg1"/>
                </a:solidFill>
              </a:endParaRPr>
            </a:p>
            <a:p>
              <a:pPr algn="ctr"/>
              <a:r>
                <a:rPr lang="fr-FR" dirty="0">
                  <a:solidFill>
                    <a:schemeClr val="bg1"/>
                  </a:solidFill>
                </a:rPr>
                <a:t>------------------------------------------------------------------------------------------------</a:t>
              </a:r>
              <a:endParaRPr lang="fr-FR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4499992" y="4407503"/>
            <a:ext cx="3051992" cy="2261857"/>
            <a:chOff x="4499992" y="4280800"/>
            <a:chExt cx="3051992" cy="2261857"/>
          </a:xfrm>
        </p:grpSpPr>
        <p:sp>
          <p:nvSpPr>
            <p:cNvPr id="16" name="Rectangle 15"/>
            <p:cNvSpPr/>
            <p:nvPr/>
          </p:nvSpPr>
          <p:spPr>
            <a:xfrm>
              <a:off x="4515469" y="4280800"/>
              <a:ext cx="3036515" cy="2261857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4499992" y="4316903"/>
              <a:ext cx="304458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dirty="0" err="1">
                  <a:solidFill>
                    <a:schemeClr val="bg1"/>
                  </a:solidFill>
                </a:rPr>
                <a:t>Describe</a:t>
              </a:r>
              <a:r>
                <a:rPr lang="fr-FR" dirty="0">
                  <a:solidFill>
                    <a:schemeClr val="bg1"/>
                  </a:solidFill>
                </a:rPr>
                <a:t> a </a:t>
              </a:r>
              <a:r>
                <a:rPr lang="fr-FR" dirty="0" err="1">
                  <a:solidFill>
                    <a:schemeClr val="bg1"/>
                  </a:solidFill>
                </a:rPr>
                <a:t>health</a:t>
              </a:r>
              <a:r>
                <a:rPr lang="fr-FR" dirty="0">
                  <a:solidFill>
                    <a:schemeClr val="bg1"/>
                  </a:solidFill>
                </a:rPr>
                <a:t> </a:t>
              </a:r>
              <a:r>
                <a:rPr lang="fr-FR" dirty="0" err="1">
                  <a:solidFill>
                    <a:schemeClr val="bg1"/>
                  </a:solidFill>
                </a:rPr>
                <a:t>technology</a:t>
              </a:r>
              <a:r>
                <a:rPr lang="fr-FR" dirty="0">
                  <a:solidFill>
                    <a:schemeClr val="bg1"/>
                  </a:solidFill>
                </a:rPr>
                <a:t>, </a:t>
              </a:r>
              <a:r>
                <a:rPr lang="fr-FR" dirty="0" err="1">
                  <a:solidFill>
                    <a:schemeClr val="bg1"/>
                  </a:solidFill>
                </a:rPr>
                <a:t>therapy</a:t>
              </a:r>
              <a:r>
                <a:rPr lang="fr-FR" dirty="0">
                  <a:solidFill>
                    <a:schemeClr val="bg1"/>
                  </a:solidFill>
                </a:rPr>
                <a:t>, </a:t>
              </a:r>
              <a:r>
                <a:rPr lang="fr-FR" dirty="0" err="1">
                  <a:solidFill>
                    <a:schemeClr val="bg1"/>
                  </a:solidFill>
                </a:rPr>
                <a:t>product</a:t>
              </a:r>
              <a:r>
                <a:rPr lang="fr-FR" dirty="0">
                  <a:solidFill>
                    <a:schemeClr val="bg1"/>
                  </a:solidFill>
                </a:rPr>
                <a:t> or service - propose a </a:t>
              </a:r>
              <a:r>
                <a:rPr lang="fr-FR" b="1" dirty="0">
                  <a:solidFill>
                    <a:schemeClr val="bg1"/>
                  </a:solidFill>
                </a:rPr>
                <a:t>solution</a:t>
              </a:r>
              <a:endParaRPr lang="fr-FR" dirty="0">
                <a:solidFill>
                  <a:schemeClr val="bg1"/>
                </a:solidFill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4556525" y="5805264"/>
              <a:ext cx="29832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b="1" u="sng" dirty="0">
                  <a:solidFill>
                    <a:schemeClr val="bg1"/>
                  </a:solidFill>
                </a:rPr>
                <a:t>Global </a:t>
              </a:r>
              <a:r>
                <a:rPr lang="fr-FR" b="1" u="sng" dirty="0" err="1">
                  <a:solidFill>
                    <a:schemeClr val="bg1"/>
                  </a:solidFill>
                </a:rPr>
                <a:t>Health</a:t>
              </a:r>
              <a:r>
                <a:rPr lang="fr-FR" b="1" u="sng" dirty="0">
                  <a:solidFill>
                    <a:schemeClr val="bg1"/>
                  </a:solidFill>
                </a:rPr>
                <a:t> Shop </a:t>
              </a:r>
            </a:p>
            <a:p>
              <a:pPr algn="ctr"/>
              <a:r>
                <a:rPr lang="fr-FR" dirty="0">
                  <a:solidFill>
                    <a:schemeClr val="bg1"/>
                  </a:solidFill>
                </a:rPr>
                <a:t>the </a:t>
              </a:r>
              <a:r>
                <a:rPr lang="fr-FR" dirty="0" err="1">
                  <a:solidFill>
                    <a:schemeClr val="bg1"/>
                  </a:solidFill>
                </a:rPr>
                <a:t>webshop</a:t>
              </a:r>
              <a:endParaRPr lang="fr-FR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èche : droite 20"/>
          <p:cNvSpPr/>
          <p:nvPr/>
        </p:nvSpPr>
        <p:spPr>
          <a:xfrm>
            <a:off x="2987824" y="2357216"/>
            <a:ext cx="1368152" cy="273441"/>
          </a:xfrm>
          <a:prstGeom prst="right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Flèche : droite 21"/>
          <p:cNvSpPr/>
          <p:nvPr/>
        </p:nvSpPr>
        <p:spPr>
          <a:xfrm>
            <a:off x="2987824" y="5877272"/>
            <a:ext cx="1368152" cy="249559"/>
          </a:xfrm>
          <a:prstGeom prst="right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Flèche : double flèche horizontale 22"/>
          <p:cNvSpPr/>
          <p:nvPr/>
        </p:nvSpPr>
        <p:spPr>
          <a:xfrm>
            <a:off x="2987824" y="3068960"/>
            <a:ext cx="1332148" cy="238377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ZoneTexte 23"/>
          <p:cNvSpPr txBox="1"/>
          <p:nvPr/>
        </p:nvSpPr>
        <p:spPr>
          <a:xfrm>
            <a:off x="2915816" y="2082334"/>
            <a:ext cx="14324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</a:t>
            </a:r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solution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2771800" y="2780928"/>
            <a:ext cx="17927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</a:t>
            </a:r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endParaRPr lang="fr-FR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fr-FR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</a:t>
            </a:r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s</a:t>
            </a:r>
            <a:endParaRPr lang="fr-FR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2887551" y="5545790"/>
            <a:ext cx="1612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unch</a:t>
            </a:r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fr-FR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  <a:endParaRPr lang="fr-FR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Flèche : droite 26"/>
          <p:cNvSpPr/>
          <p:nvPr/>
        </p:nvSpPr>
        <p:spPr>
          <a:xfrm flipH="1">
            <a:off x="3001570" y="4574130"/>
            <a:ext cx="1368152" cy="268931"/>
          </a:xfrm>
          <a:prstGeom prst="right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ZoneTexte 27"/>
          <p:cNvSpPr txBox="1"/>
          <p:nvPr/>
        </p:nvSpPr>
        <p:spPr>
          <a:xfrm>
            <a:off x="2887551" y="4293096"/>
            <a:ext cx="16124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e a</a:t>
            </a:r>
          </a:p>
          <a:p>
            <a:pPr algn="ctr"/>
            <a:endParaRPr lang="fr-FR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olution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857804" y="3376737"/>
            <a:ext cx="1323800" cy="52322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ive update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</a:rPr>
              <a:t>by </a:t>
            </a:r>
            <a:r>
              <a:rPr lang="fr-FR" sz="1400" b="1" dirty="0" err="1">
                <a:solidFill>
                  <a:schemeClr val="bg1"/>
                </a:solidFill>
              </a:rPr>
              <a:t>users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5004048" y="5641503"/>
            <a:ext cx="1915951" cy="307777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ive update by </a:t>
            </a:r>
            <a:r>
              <a:rPr lang="fr-FR" sz="1400" b="1" dirty="0" err="1">
                <a:solidFill>
                  <a:schemeClr val="bg1"/>
                </a:solidFill>
              </a:rPr>
              <a:t>users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5460886" y="2625292"/>
            <a:ext cx="1915951" cy="307777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ive update by </a:t>
            </a:r>
            <a:r>
              <a:rPr lang="fr-FR" sz="1400" b="1" dirty="0" err="1">
                <a:solidFill>
                  <a:schemeClr val="bg1"/>
                </a:solidFill>
              </a:rPr>
              <a:t>users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3025004" y="3645024"/>
            <a:ext cx="132380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ive user exchange</a:t>
            </a:r>
          </a:p>
        </p:txBody>
      </p:sp>
    </p:spTree>
    <p:extLst>
      <p:ext uri="{BB962C8B-B14F-4D97-AF65-F5344CB8AC3E}">
        <p14:creationId xmlns:p14="http://schemas.microsoft.com/office/powerpoint/2010/main" val="3232070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1118427" cy="59337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/>
          <p:cNvSpPr txBox="1"/>
          <p:nvPr/>
        </p:nvSpPr>
        <p:spPr>
          <a:xfrm>
            <a:off x="323528" y="188640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hat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an</a:t>
            </a:r>
            <a:r>
              <a:rPr lang="fr-FR" sz="40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YOU do ?</a:t>
            </a:r>
          </a:p>
          <a:p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active </a:t>
            </a:r>
            <a:r>
              <a:rPr lang="fr-FR" sz="2400" dirty="0" err="1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izer</a:t>
            </a:r>
            <a:r>
              <a:rPr lang="fr-FR" sz="24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in the Community</a:t>
            </a:r>
          </a:p>
        </p:txBody>
      </p:sp>
      <p:pic>
        <p:nvPicPr>
          <p:cNvPr id="6" name="Picture 2" descr="p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547" y="5005164"/>
            <a:ext cx="9239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ZoneTexte 14"/>
          <p:cNvSpPr txBox="1"/>
          <p:nvPr/>
        </p:nvSpPr>
        <p:spPr>
          <a:xfrm>
            <a:off x="123334" y="1356040"/>
            <a:ext cx="8607259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User Community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ongst</a:t>
            </a:r>
            <a:r>
              <a:rPr lang="fr-FR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</a:t>
            </a:r>
            <a:r>
              <a:rPr lang="fr-FR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ngs</a:t>
            </a:r>
            <a:r>
              <a:rPr lang="fr-FR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endParaRPr lang="fr-FR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post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ques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sistance (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solution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>
              <a:buFontTx/>
              <a:buChar char="-"/>
            </a:pP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if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solution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Global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ok</a:t>
            </a:r>
          </a:p>
          <a:p>
            <a:pPr marL="285750" indent="-285750">
              <a:buFontTx/>
              <a:buChar char="-"/>
            </a:pP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 and exchang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User Community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sues and possible solutions</a:t>
            </a:r>
          </a:p>
          <a:p>
            <a:pPr marL="285750" indent="-285750">
              <a:buFontTx/>
              <a:buChar char="-"/>
            </a:pP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e a solution to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l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ecific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unc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Community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if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/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solution to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ecific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o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sue (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.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o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eld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sue, or for a single case)</a:t>
            </a:r>
          </a:p>
          <a:p>
            <a:pPr marL="285750" indent="-285750">
              <a:buFontTx/>
              <a:buChar char="-"/>
            </a:pP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e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olog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apy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service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re able to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an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bassado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a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ion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topic (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.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ify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sues or solutions)</a:t>
            </a:r>
          </a:p>
          <a:p>
            <a:pPr marL="285750" indent="-285750">
              <a:buFontTx/>
              <a:buChar char="-"/>
            </a:pP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come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 entrepreneur in the Global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to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y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unching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r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ervice or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usiness in one of the Community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elds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of </a:t>
            </a:r>
            <a:r>
              <a:rPr lang="fr-FR" sz="2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est</a:t>
            </a: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306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BRop.OCkWQkNVNJpOOOg"/>
</p:tagLst>
</file>

<file path=ppt/theme/theme1.xml><?xml version="1.0" encoding="utf-8"?>
<a:theme xmlns:a="http://schemas.openxmlformats.org/drawingml/2006/main" name="Secteur">
  <a:themeElements>
    <a:clrScheme name="Secteur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ecteur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ecteur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3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2700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1427</TotalTime>
  <Words>1838</Words>
  <Application>Microsoft Office PowerPoint</Application>
  <PresentationFormat>Affichage à l'écran (4:3)</PresentationFormat>
  <Paragraphs>344</Paragraphs>
  <Slides>25</Slides>
  <Notes>0</Notes>
  <HiddenSlides>1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35" baseType="lpstr">
      <vt:lpstr>Aparajita</vt:lpstr>
      <vt:lpstr>Arial</vt:lpstr>
      <vt:lpstr>Bookman Old Style</vt:lpstr>
      <vt:lpstr>Calibri</vt:lpstr>
      <vt:lpstr>Century Gothic</vt:lpstr>
      <vt:lpstr>Georgia</vt:lpstr>
      <vt:lpstr>Times New Roman</vt:lpstr>
      <vt:lpstr>Wingdings</vt:lpstr>
      <vt:lpstr>Wingdings 3</vt:lpstr>
      <vt:lpstr>Secteur</vt:lpstr>
      <vt:lpstr>Imagine …. you had a way of always finding an effective solution to your health problems and/or help the ones close to you ?</vt:lpstr>
      <vt:lpstr>Imagine again …. that you could have access to this  independantly of any social status  or financial criteria</vt:lpstr>
      <vt:lpstr>Imagine once more …. that you would be able to tap into the world’s biggest pool of know how in regards to global health issues</vt:lpstr>
      <vt:lpstr>Do you want to ….  TIZ  with us ?</vt:lpstr>
      <vt:lpstr>QUANTUM HEALTH Initiativ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QUANTUM HEALTH Initiative</vt:lpstr>
      <vt:lpstr>QUANTUM HEALTH Initiative</vt:lpstr>
      <vt:lpstr>The « scientific » par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NTUM HEALTH</dc:title>
  <dc:creator>hari</dc:creator>
  <cp:lastModifiedBy>Claus Kourim</cp:lastModifiedBy>
  <cp:revision>183</cp:revision>
  <dcterms:created xsi:type="dcterms:W3CDTF">2015-12-28T15:49:10Z</dcterms:created>
  <dcterms:modified xsi:type="dcterms:W3CDTF">2017-01-11T09:11:16Z</dcterms:modified>
</cp:coreProperties>
</file>